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ink/ink1.xml" ContentType="application/inkml+xml"/>
  <Override PartName="/ppt/ink/ink2.xml" ContentType="application/inkml+xml"/>
  <Override PartName="/ppt/tags/tag7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sldIdLst>
    <p:sldId id="257" r:id="rId2"/>
    <p:sldId id="262" r:id="rId3"/>
    <p:sldId id="259" r:id="rId4"/>
    <p:sldId id="260" r:id="rId5"/>
    <p:sldId id="261" r:id="rId6"/>
  </p:sldIdLst>
  <p:sldSz cx="14400213" cy="14400213"/>
  <p:notesSz cx="6858000" cy="9144000"/>
  <p:custDataLst>
    <p:tags r:id="rId7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4536" userDrawn="1">
          <p15:clr>
            <a:srgbClr val="A4A3A4"/>
          </p15:clr>
        </p15:guide>
        <p15:guide id="2" pos="4558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33CC"/>
    <a:srgbClr val="FFABA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9509" autoAdjust="0"/>
    <p:restoredTop sz="94660"/>
  </p:normalViewPr>
  <p:slideViewPr>
    <p:cSldViewPr snapToGrid="0" showGuides="1">
      <p:cViewPr varScale="1">
        <p:scale>
          <a:sx n="49" d="100"/>
          <a:sy n="49" d="100"/>
        </p:scale>
        <p:origin x="2844" y="48"/>
      </p:cViewPr>
      <p:guideLst>
        <p:guide orient="horz" pos="4536"/>
        <p:guide pos="4558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tags" Target="tags/tag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ableStyles" Target="tableStyles.xml"/><Relationship Id="rId5" Type="http://schemas.openxmlformats.org/officeDocument/2006/relationships/slide" Target="slides/slide4.xml"/><Relationship Id="rId10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viewProps" Target="viewProps.xml"/></Relationships>
</file>

<file path=ppt/ink/ink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2-06-07T10:38:06.241"/>
    </inkml:context>
    <inkml:brush xml:id="br0">
      <inkml:brushProperty name="width" value="0.5" units="cm"/>
      <inkml:brushProperty name="height" value="1" units="cm"/>
      <inkml:brushProperty name="color" value="#FFACD5"/>
      <inkml:brushProperty name="tip" value="rectangle"/>
      <inkml:brushProperty name="rasterOp" value="maskPen"/>
      <inkml:brushProperty name="ignorePressure" value="1"/>
    </inkml:brush>
  </inkml:definitions>
  <inkml:trace contextRef="#ctx0" brushRef="#br0">1 109,'1540'0,"-1451"4,101 18,17 1,40-19,-8 0,-194 1,-1 2,0 2,51 18,-41-11,66 10,25-14,-100-11,-1 3,77 15,-73-8,2-2,88 3,104-12,-113-2,17 1,176 22,260 11,-349-27,128 18,68 3,444-27,-515-24,-105 3,84-6,163-5,-425 33,642-31,-540 7,242-22,272 1,-583 39,-26 2,114-19,-99 9,0 4,125 4,61-6,321-32,-320 20,101-4,748 26,-523 5,-473-3,1010 33,-611-10,-456-19,148 26,-149-18,48 13,-72-13,98 9,24-18,-121-4</inkml:trace>
</inkml:ink>
</file>

<file path=ppt/ink/ink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2-06-07T10:39:27.999"/>
    </inkml:context>
    <inkml:brush xml:id="br0">
      <inkml:brushProperty name="width" value="0.5" units="cm"/>
      <inkml:brushProperty name="height" value="1" units="cm"/>
      <inkml:brushProperty name="color" value="#FFACD5"/>
      <inkml:brushProperty name="tip" value="rectangle"/>
      <inkml:brushProperty name="rasterOp" value="maskPen"/>
      <inkml:brushProperty name="ignorePressure" value="1"/>
    </inkml:brush>
  </inkml:definitions>
  <inkml:trace contextRef="#ctx0" brushRef="#br0">1 215,'92'0,"0"-5,0-3,131-30,-31-1,2 8,253-8,398 35,-453 8,957-4,-818-27,20 0,3034 29,-2868 53,-440-25,765 47,-685-55,268 8,4288-30,-2108-2,-2702 2,-58 0</inkml:trace>
</inkml:ink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080016" y="2356703"/>
            <a:ext cx="12240181" cy="5013407"/>
          </a:xfrm>
        </p:spPr>
        <p:txBody>
          <a:bodyPr anchor="b"/>
          <a:lstStyle>
            <a:lvl1pPr algn="ctr">
              <a:defRPr sz="9449"/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00027" y="7563446"/>
            <a:ext cx="10800160" cy="3476717"/>
          </a:xfrm>
        </p:spPr>
        <p:txBody>
          <a:bodyPr/>
          <a:lstStyle>
            <a:lvl1pPr marL="0" indent="0" algn="ctr">
              <a:buNone/>
              <a:defRPr sz="3780"/>
            </a:lvl1pPr>
            <a:lvl2pPr marL="719999" indent="0" algn="ctr">
              <a:buNone/>
              <a:defRPr sz="3150"/>
            </a:lvl2pPr>
            <a:lvl3pPr marL="1439997" indent="0" algn="ctr">
              <a:buNone/>
              <a:defRPr sz="2835"/>
            </a:lvl3pPr>
            <a:lvl4pPr marL="2159996" indent="0" algn="ctr">
              <a:buNone/>
              <a:defRPr sz="2520"/>
            </a:lvl4pPr>
            <a:lvl5pPr marL="2879994" indent="0" algn="ctr">
              <a:buNone/>
              <a:defRPr sz="2520"/>
            </a:lvl5pPr>
            <a:lvl6pPr marL="3599993" indent="0" algn="ctr">
              <a:buNone/>
              <a:defRPr sz="2520"/>
            </a:lvl6pPr>
            <a:lvl7pPr marL="4319991" indent="0" algn="ctr">
              <a:buNone/>
              <a:defRPr sz="2520"/>
            </a:lvl7pPr>
            <a:lvl8pPr marL="5039990" indent="0" algn="ctr">
              <a:buNone/>
              <a:defRPr sz="2520"/>
            </a:lvl8pPr>
            <a:lvl9pPr marL="5759988" indent="0" algn="ctr">
              <a:buNone/>
              <a:defRPr sz="2520"/>
            </a:lvl9pPr>
          </a:lstStyle>
          <a:p>
            <a:r>
              <a:rPr lang="de-DE"/>
              <a:t>Master-Untertitelformat bearbeite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92EF574-4BF7-442F-A638-31BEEE305A02}" type="datetimeFigureOut">
              <a:rPr lang="en-US" smtClean="0"/>
              <a:t>6/7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3F8D2A-260E-42DE-A758-ADBA8D622188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9243112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92EF574-4BF7-442F-A638-31BEEE305A02}" type="datetimeFigureOut">
              <a:rPr lang="en-US" smtClean="0"/>
              <a:t>6/7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3F8D2A-260E-42DE-A758-ADBA8D622188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0974057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10305153" y="766678"/>
            <a:ext cx="3105046" cy="12203515"/>
          </a:xfrm>
        </p:spPr>
        <p:txBody>
          <a:bodyPr vert="eaVert"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990015" y="766678"/>
            <a:ext cx="9135135" cy="12203515"/>
          </a:xfrm>
        </p:spPr>
        <p:txBody>
          <a:bodyPr vert="eaVer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92EF574-4BF7-442F-A638-31BEEE305A02}" type="datetimeFigureOut">
              <a:rPr lang="en-US" smtClean="0"/>
              <a:t>6/7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3F8D2A-260E-42DE-A758-ADBA8D622188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0266292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92EF574-4BF7-442F-A638-31BEEE305A02}" type="datetimeFigureOut">
              <a:rPr lang="en-US" smtClean="0"/>
              <a:t>6/7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3F8D2A-260E-42DE-A758-ADBA8D622188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1352658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82515" y="3590057"/>
            <a:ext cx="12420184" cy="5990088"/>
          </a:xfrm>
        </p:spPr>
        <p:txBody>
          <a:bodyPr anchor="b"/>
          <a:lstStyle>
            <a:lvl1pPr>
              <a:defRPr sz="9449"/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82515" y="9636813"/>
            <a:ext cx="12420184" cy="3150046"/>
          </a:xfrm>
        </p:spPr>
        <p:txBody>
          <a:bodyPr/>
          <a:lstStyle>
            <a:lvl1pPr marL="0" indent="0">
              <a:buNone/>
              <a:defRPr sz="3780">
                <a:solidFill>
                  <a:schemeClr val="tx1"/>
                </a:solidFill>
              </a:defRPr>
            </a:lvl1pPr>
            <a:lvl2pPr marL="719999" indent="0">
              <a:buNone/>
              <a:defRPr sz="3150">
                <a:solidFill>
                  <a:schemeClr val="tx1">
                    <a:tint val="75000"/>
                  </a:schemeClr>
                </a:solidFill>
              </a:defRPr>
            </a:lvl2pPr>
            <a:lvl3pPr marL="1439997" indent="0">
              <a:buNone/>
              <a:defRPr sz="2835">
                <a:solidFill>
                  <a:schemeClr val="tx1">
                    <a:tint val="75000"/>
                  </a:schemeClr>
                </a:solidFill>
              </a:defRPr>
            </a:lvl3pPr>
            <a:lvl4pPr marL="2159996" indent="0">
              <a:buNone/>
              <a:defRPr sz="2520">
                <a:solidFill>
                  <a:schemeClr val="tx1">
                    <a:tint val="75000"/>
                  </a:schemeClr>
                </a:solidFill>
              </a:defRPr>
            </a:lvl4pPr>
            <a:lvl5pPr marL="2879994" indent="0">
              <a:buNone/>
              <a:defRPr sz="2520">
                <a:solidFill>
                  <a:schemeClr val="tx1">
                    <a:tint val="75000"/>
                  </a:schemeClr>
                </a:solidFill>
              </a:defRPr>
            </a:lvl5pPr>
            <a:lvl6pPr marL="3599993" indent="0">
              <a:buNone/>
              <a:defRPr sz="2520">
                <a:solidFill>
                  <a:schemeClr val="tx1">
                    <a:tint val="75000"/>
                  </a:schemeClr>
                </a:solidFill>
              </a:defRPr>
            </a:lvl6pPr>
            <a:lvl7pPr marL="4319991" indent="0">
              <a:buNone/>
              <a:defRPr sz="2520">
                <a:solidFill>
                  <a:schemeClr val="tx1">
                    <a:tint val="75000"/>
                  </a:schemeClr>
                </a:solidFill>
              </a:defRPr>
            </a:lvl7pPr>
            <a:lvl8pPr marL="5039990" indent="0">
              <a:buNone/>
              <a:defRPr sz="2520">
                <a:solidFill>
                  <a:schemeClr val="tx1">
                    <a:tint val="75000"/>
                  </a:schemeClr>
                </a:solidFill>
              </a:defRPr>
            </a:lvl8pPr>
            <a:lvl9pPr marL="5759988" indent="0">
              <a:buNone/>
              <a:defRPr sz="252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92EF574-4BF7-442F-A638-31BEEE305A02}" type="datetimeFigureOut">
              <a:rPr lang="en-US" smtClean="0"/>
              <a:t>6/7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3F8D2A-260E-42DE-A758-ADBA8D622188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693925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90014" y="3833390"/>
            <a:ext cx="6120091" cy="9136803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7290108" y="3833390"/>
            <a:ext cx="6120091" cy="9136803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92EF574-4BF7-442F-A638-31BEEE305A02}" type="datetimeFigureOut">
              <a:rPr lang="en-US" smtClean="0"/>
              <a:t>6/7/202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3F8D2A-260E-42DE-A758-ADBA8D622188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2760150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91890" y="766681"/>
            <a:ext cx="12420184" cy="2783376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91892" y="3530053"/>
            <a:ext cx="6091964" cy="1730025"/>
          </a:xfrm>
        </p:spPr>
        <p:txBody>
          <a:bodyPr anchor="b"/>
          <a:lstStyle>
            <a:lvl1pPr marL="0" indent="0">
              <a:buNone/>
              <a:defRPr sz="3780" b="1"/>
            </a:lvl1pPr>
            <a:lvl2pPr marL="719999" indent="0">
              <a:buNone/>
              <a:defRPr sz="3150" b="1"/>
            </a:lvl2pPr>
            <a:lvl3pPr marL="1439997" indent="0">
              <a:buNone/>
              <a:defRPr sz="2835" b="1"/>
            </a:lvl3pPr>
            <a:lvl4pPr marL="2159996" indent="0">
              <a:buNone/>
              <a:defRPr sz="2520" b="1"/>
            </a:lvl4pPr>
            <a:lvl5pPr marL="2879994" indent="0">
              <a:buNone/>
              <a:defRPr sz="2520" b="1"/>
            </a:lvl5pPr>
            <a:lvl6pPr marL="3599993" indent="0">
              <a:buNone/>
              <a:defRPr sz="2520" b="1"/>
            </a:lvl6pPr>
            <a:lvl7pPr marL="4319991" indent="0">
              <a:buNone/>
              <a:defRPr sz="2520" b="1"/>
            </a:lvl7pPr>
            <a:lvl8pPr marL="5039990" indent="0">
              <a:buNone/>
              <a:defRPr sz="2520" b="1"/>
            </a:lvl8pPr>
            <a:lvl9pPr marL="5759988" indent="0">
              <a:buNone/>
              <a:defRPr sz="252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991892" y="5260078"/>
            <a:ext cx="6091964" cy="7736782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7290109" y="3530053"/>
            <a:ext cx="6121966" cy="1730025"/>
          </a:xfrm>
        </p:spPr>
        <p:txBody>
          <a:bodyPr anchor="b"/>
          <a:lstStyle>
            <a:lvl1pPr marL="0" indent="0">
              <a:buNone/>
              <a:defRPr sz="3780" b="1"/>
            </a:lvl1pPr>
            <a:lvl2pPr marL="719999" indent="0">
              <a:buNone/>
              <a:defRPr sz="3150" b="1"/>
            </a:lvl2pPr>
            <a:lvl3pPr marL="1439997" indent="0">
              <a:buNone/>
              <a:defRPr sz="2835" b="1"/>
            </a:lvl3pPr>
            <a:lvl4pPr marL="2159996" indent="0">
              <a:buNone/>
              <a:defRPr sz="2520" b="1"/>
            </a:lvl4pPr>
            <a:lvl5pPr marL="2879994" indent="0">
              <a:buNone/>
              <a:defRPr sz="2520" b="1"/>
            </a:lvl5pPr>
            <a:lvl6pPr marL="3599993" indent="0">
              <a:buNone/>
              <a:defRPr sz="2520" b="1"/>
            </a:lvl6pPr>
            <a:lvl7pPr marL="4319991" indent="0">
              <a:buNone/>
              <a:defRPr sz="2520" b="1"/>
            </a:lvl7pPr>
            <a:lvl8pPr marL="5039990" indent="0">
              <a:buNone/>
              <a:defRPr sz="2520" b="1"/>
            </a:lvl8pPr>
            <a:lvl9pPr marL="5759988" indent="0">
              <a:buNone/>
              <a:defRPr sz="252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7290109" y="5260078"/>
            <a:ext cx="6121966" cy="7736782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92EF574-4BF7-442F-A638-31BEEE305A02}" type="datetimeFigureOut">
              <a:rPr lang="en-US" smtClean="0"/>
              <a:t>6/7/2022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3F8D2A-260E-42DE-A758-ADBA8D622188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1494242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92EF574-4BF7-442F-A638-31BEEE305A02}" type="datetimeFigureOut">
              <a:rPr lang="en-US" smtClean="0"/>
              <a:t>6/7/2022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3F8D2A-260E-42DE-A758-ADBA8D622188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9058400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92EF574-4BF7-442F-A638-31BEEE305A02}" type="datetimeFigureOut">
              <a:rPr lang="en-US" smtClean="0"/>
              <a:t>6/7/2022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3F8D2A-260E-42DE-A758-ADBA8D622188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4113670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91890" y="960014"/>
            <a:ext cx="4644444" cy="3360050"/>
          </a:xfrm>
        </p:spPr>
        <p:txBody>
          <a:bodyPr anchor="b"/>
          <a:lstStyle>
            <a:lvl1pPr>
              <a:defRPr sz="5039"/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121966" y="2073367"/>
            <a:ext cx="7290108" cy="10233485"/>
          </a:xfrm>
        </p:spPr>
        <p:txBody>
          <a:bodyPr/>
          <a:lstStyle>
            <a:lvl1pPr>
              <a:defRPr sz="5039"/>
            </a:lvl1pPr>
            <a:lvl2pPr>
              <a:defRPr sz="4409"/>
            </a:lvl2pPr>
            <a:lvl3pPr>
              <a:defRPr sz="3780"/>
            </a:lvl3pPr>
            <a:lvl4pPr>
              <a:defRPr sz="3150"/>
            </a:lvl4pPr>
            <a:lvl5pPr>
              <a:defRPr sz="3150"/>
            </a:lvl5pPr>
            <a:lvl6pPr>
              <a:defRPr sz="3150"/>
            </a:lvl6pPr>
            <a:lvl7pPr>
              <a:defRPr sz="3150"/>
            </a:lvl7pPr>
            <a:lvl8pPr>
              <a:defRPr sz="3150"/>
            </a:lvl8pPr>
            <a:lvl9pPr>
              <a:defRPr sz="315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991890" y="4320064"/>
            <a:ext cx="4644444" cy="8003453"/>
          </a:xfrm>
        </p:spPr>
        <p:txBody>
          <a:bodyPr/>
          <a:lstStyle>
            <a:lvl1pPr marL="0" indent="0">
              <a:buNone/>
              <a:defRPr sz="2520"/>
            </a:lvl1pPr>
            <a:lvl2pPr marL="719999" indent="0">
              <a:buNone/>
              <a:defRPr sz="2205"/>
            </a:lvl2pPr>
            <a:lvl3pPr marL="1439997" indent="0">
              <a:buNone/>
              <a:defRPr sz="1890"/>
            </a:lvl3pPr>
            <a:lvl4pPr marL="2159996" indent="0">
              <a:buNone/>
              <a:defRPr sz="1575"/>
            </a:lvl4pPr>
            <a:lvl5pPr marL="2879994" indent="0">
              <a:buNone/>
              <a:defRPr sz="1575"/>
            </a:lvl5pPr>
            <a:lvl6pPr marL="3599993" indent="0">
              <a:buNone/>
              <a:defRPr sz="1575"/>
            </a:lvl6pPr>
            <a:lvl7pPr marL="4319991" indent="0">
              <a:buNone/>
              <a:defRPr sz="1575"/>
            </a:lvl7pPr>
            <a:lvl8pPr marL="5039990" indent="0">
              <a:buNone/>
              <a:defRPr sz="1575"/>
            </a:lvl8pPr>
            <a:lvl9pPr marL="5759988" indent="0">
              <a:buNone/>
              <a:defRPr sz="1575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92EF574-4BF7-442F-A638-31BEEE305A02}" type="datetimeFigureOut">
              <a:rPr lang="en-US" smtClean="0"/>
              <a:t>6/7/202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3F8D2A-260E-42DE-A758-ADBA8D622188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2672349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91890" y="960014"/>
            <a:ext cx="4644444" cy="3360050"/>
          </a:xfrm>
        </p:spPr>
        <p:txBody>
          <a:bodyPr anchor="b"/>
          <a:lstStyle>
            <a:lvl1pPr>
              <a:defRPr sz="5039"/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6121966" y="2073367"/>
            <a:ext cx="7290108" cy="10233485"/>
          </a:xfrm>
        </p:spPr>
        <p:txBody>
          <a:bodyPr anchor="t"/>
          <a:lstStyle>
            <a:lvl1pPr marL="0" indent="0">
              <a:buNone/>
              <a:defRPr sz="5039"/>
            </a:lvl1pPr>
            <a:lvl2pPr marL="719999" indent="0">
              <a:buNone/>
              <a:defRPr sz="4409"/>
            </a:lvl2pPr>
            <a:lvl3pPr marL="1439997" indent="0">
              <a:buNone/>
              <a:defRPr sz="3780"/>
            </a:lvl3pPr>
            <a:lvl4pPr marL="2159996" indent="0">
              <a:buNone/>
              <a:defRPr sz="3150"/>
            </a:lvl4pPr>
            <a:lvl5pPr marL="2879994" indent="0">
              <a:buNone/>
              <a:defRPr sz="3150"/>
            </a:lvl5pPr>
            <a:lvl6pPr marL="3599993" indent="0">
              <a:buNone/>
              <a:defRPr sz="3150"/>
            </a:lvl6pPr>
            <a:lvl7pPr marL="4319991" indent="0">
              <a:buNone/>
              <a:defRPr sz="3150"/>
            </a:lvl7pPr>
            <a:lvl8pPr marL="5039990" indent="0">
              <a:buNone/>
              <a:defRPr sz="3150"/>
            </a:lvl8pPr>
            <a:lvl9pPr marL="5759988" indent="0">
              <a:buNone/>
              <a:defRPr sz="3150"/>
            </a:lvl9pPr>
          </a:lstStyle>
          <a:p>
            <a:r>
              <a:rPr lang="de-DE"/>
              <a:t>Bild durch Klicken auf Symbol hinzufügen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991890" y="4320064"/>
            <a:ext cx="4644444" cy="8003453"/>
          </a:xfrm>
        </p:spPr>
        <p:txBody>
          <a:bodyPr/>
          <a:lstStyle>
            <a:lvl1pPr marL="0" indent="0">
              <a:buNone/>
              <a:defRPr sz="2520"/>
            </a:lvl1pPr>
            <a:lvl2pPr marL="719999" indent="0">
              <a:buNone/>
              <a:defRPr sz="2205"/>
            </a:lvl2pPr>
            <a:lvl3pPr marL="1439997" indent="0">
              <a:buNone/>
              <a:defRPr sz="1890"/>
            </a:lvl3pPr>
            <a:lvl4pPr marL="2159996" indent="0">
              <a:buNone/>
              <a:defRPr sz="1575"/>
            </a:lvl4pPr>
            <a:lvl5pPr marL="2879994" indent="0">
              <a:buNone/>
              <a:defRPr sz="1575"/>
            </a:lvl5pPr>
            <a:lvl6pPr marL="3599993" indent="0">
              <a:buNone/>
              <a:defRPr sz="1575"/>
            </a:lvl6pPr>
            <a:lvl7pPr marL="4319991" indent="0">
              <a:buNone/>
              <a:defRPr sz="1575"/>
            </a:lvl7pPr>
            <a:lvl8pPr marL="5039990" indent="0">
              <a:buNone/>
              <a:defRPr sz="1575"/>
            </a:lvl8pPr>
            <a:lvl9pPr marL="5759988" indent="0">
              <a:buNone/>
              <a:defRPr sz="1575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92EF574-4BF7-442F-A638-31BEEE305A02}" type="datetimeFigureOut">
              <a:rPr lang="en-US" smtClean="0"/>
              <a:t>6/7/202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3F8D2A-260E-42DE-A758-ADBA8D622188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960823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990015" y="766681"/>
            <a:ext cx="12420184" cy="278337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90015" y="3833390"/>
            <a:ext cx="12420184" cy="913680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990015" y="13346867"/>
            <a:ext cx="3240048" cy="76667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89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92EF574-4BF7-442F-A638-31BEEE305A02}" type="datetimeFigureOut">
              <a:rPr lang="en-US" smtClean="0"/>
              <a:t>6/7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770071" y="13346867"/>
            <a:ext cx="4860072" cy="76667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89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170150" y="13346867"/>
            <a:ext cx="3240048" cy="76667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89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B3F8D2A-260E-42DE-A758-ADBA8D622188}" type="slidenum">
              <a:rPr lang="en-US" smtClean="0"/>
              <a:t>‹Nr.›</a:t>
            </a:fld>
            <a:endParaRPr lang="en-US"/>
          </a:p>
        </p:txBody>
      </p:sp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CEC7947C-C9D2-FAC7-CD8A-31A819C7C91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2725585221"/>
              </p:ext>
            </p:extLst>
          </p:nvPr>
        </p:nvGraphicFramePr>
        <p:xfrm>
          <a:off x="1875" y="3335"/>
          <a:ext cx="1876" cy="333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4" imgW="351" imgH="351" progId="TCLayout.ActiveDocument.1">
                  <p:embed/>
                </p:oleObj>
              </mc:Choice>
              <mc:Fallback>
                <p:oleObj name="think-cell Folie" r:id="rId14" imgW="351" imgH="351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8B428252-B505-B9D7-FD7E-BC0BF353B25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875" y="3335"/>
                        <a:ext cx="1876" cy="333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23129008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txStyles>
    <p:titleStyle>
      <a:lvl1pPr algn="l" defTabSz="1439997" rtl="0" eaLnBrk="1" latinLnBrk="0" hangingPunct="1">
        <a:lnSpc>
          <a:spcPct val="90000"/>
        </a:lnSpc>
        <a:spcBef>
          <a:spcPct val="0"/>
        </a:spcBef>
        <a:buNone/>
        <a:defRPr sz="6929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59999" indent="-359999" algn="l" defTabSz="1439997" rtl="0" eaLnBrk="1" latinLnBrk="0" hangingPunct="1">
        <a:lnSpc>
          <a:spcPct val="90000"/>
        </a:lnSpc>
        <a:spcBef>
          <a:spcPts val="1575"/>
        </a:spcBef>
        <a:buFont typeface="Arial" panose="020B0604020202020204" pitchFamily="34" charset="0"/>
        <a:buChar char="•"/>
        <a:defRPr sz="4409" kern="1200">
          <a:solidFill>
            <a:schemeClr val="tx1"/>
          </a:solidFill>
          <a:latin typeface="+mn-lt"/>
          <a:ea typeface="+mn-ea"/>
          <a:cs typeface="+mn-cs"/>
        </a:defRPr>
      </a:lvl1pPr>
      <a:lvl2pPr marL="1079998" indent="-359999" algn="l" defTabSz="1439997" rtl="0" eaLnBrk="1" latinLnBrk="0" hangingPunct="1">
        <a:lnSpc>
          <a:spcPct val="90000"/>
        </a:lnSpc>
        <a:spcBef>
          <a:spcPts val="787"/>
        </a:spcBef>
        <a:buFont typeface="Arial" panose="020B0604020202020204" pitchFamily="34" charset="0"/>
        <a:buChar char="•"/>
        <a:defRPr sz="3780" kern="1200">
          <a:solidFill>
            <a:schemeClr val="tx1"/>
          </a:solidFill>
          <a:latin typeface="+mn-lt"/>
          <a:ea typeface="+mn-ea"/>
          <a:cs typeface="+mn-cs"/>
        </a:defRPr>
      </a:lvl2pPr>
      <a:lvl3pPr marL="1799996" indent="-359999" algn="l" defTabSz="1439997" rtl="0" eaLnBrk="1" latinLnBrk="0" hangingPunct="1">
        <a:lnSpc>
          <a:spcPct val="90000"/>
        </a:lnSpc>
        <a:spcBef>
          <a:spcPts val="787"/>
        </a:spcBef>
        <a:buFont typeface="Arial" panose="020B0604020202020204" pitchFamily="34" charset="0"/>
        <a:buChar char="•"/>
        <a:defRPr sz="3150" kern="1200">
          <a:solidFill>
            <a:schemeClr val="tx1"/>
          </a:solidFill>
          <a:latin typeface="+mn-lt"/>
          <a:ea typeface="+mn-ea"/>
          <a:cs typeface="+mn-cs"/>
        </a:defRPr>
      </a:lvl3pPr>
      <a:lvl4pPr marL="2519995" indent="-359999" algn="l" defTabSz="1439997" rtl="0" eaLnBrk="1" latinLnBrk="0" hangingPunct="1">
        <a:lnSpc>
          <a:spcPct val="90000"/>
        </a:lnSpc>
        <a:spcBef>
          <a:spcPts val="787"/>
        </a:spcBef>
        <a:buFont typeface="Arial" panose="020B0604020202020204" pitchFamily="34" charset="0"/>
        <a:buChar char="•"/>
        <a:defRPr sz="2835" kern="1200">
          <a:solidFill>
            <a:schemeClr val="tx1"/>
          </a:solidFill>
          <a:latin typeface="+mn-lt"/>
          <a:ea typeface="+mn-ea"/>
          <a:cs typeface="+mn-cs"/>
        </a:defRPr>
      </a:lvl4pPr>
      <a:lvl5pPr marL="3239994" indent="-359999" algn="l" defTabSz="1439997" rtl="0" eaLnBrk="1" latinLnBrk="0" hangingPunct="1">
        <a:lnSpc>
          <a:spcPct val="90000"/>
        </a:lnSpc>
        <a:spcBef>
          <a:spcPts val="787"/>
        </a:spcBef>
        <a:buFont typeface="Arial" panose="020B0604020202020204" pitchFamily="34" charset="0"/>
        <a:buChar char="•"/>
        <a:defRPr sz="2835" kern="1200">
          <a:solidFill>
            <a:schemeClr val="tx1"/>
          </a:solidFill>
          <a:latin typeface="+mn-lt"/>
          <a:ea typeface="+mn-ea"/>
          <a:cs typeface="+mn-cs"/>
        </a:defRPr>
      </a:lvl5pPr>
      <a:lvl6pPr marL="3959992" indent="-359999" algn="l" defTabSz="1439997" rtl="0" eaLnBrk="1" latinLnBrk="0" hangingPunct="1">
        <a:lnSpc>
          <a:spcPct val="90000"/>
        </a:lnSpc>
        <a:spcBef>
          <a:spcPts val="787"/>
        </a:spcBef>
        <a:buFont typeface="Arial" panose="020B0604020202020204" pitchFamily="34" charset="0"/>
        <a:buChar char="•"/>
        <a:defRPr sz="2835" kern="1200">
          <a:solidFill>
            <a:schemeClr val="tx1"/>
          </a:solidFill>
          <a:latin typeface="+mn-lt"/>
          <a:ea typeface="+mn-ea"/>
          <a:cs typeface="+mn-cs"/>
        </a:defRPr>
      </a:lvl6pPr>
      <a:lvl7pPr marL="4679991" indent="-359999" algn="l" defTabSz="1439997" rtl="0" eaLnBrk="1" latinLnBrk="0" hangingPunct="1">
        <a:lnSpc>
          <a:spcPct val="90000"/>
        </a:lnSpc>
        <a:spcBef>
          <a:spcPts val="787"/>
        </a:spcBef>
        <a:buFont typeface="Arial" panose="020B0604020202020204" pitchFamily="34" charset="0"/>
        <a:buChar char="•"/>
        <a:defRPr sz="2835" kern="1200">
          <a:solidFill>
            <a:schemeClr val="tx1"/>
          </a:solidFill>
          <a:latin typeface="+mn-lt"/>
          <a:ea typeface="+mn-ea"/>
          <a:cs typeface="+mn-cs"/>
        </a:defRPr>
      </a:lvl7pPr>
      <a:lvl8pPr marL="5399989" indent="-359999" algn="l" defTabSz="1439997" rtl="0" eaLnBrk="1" latinLnBrk="0" hangingPunct="1">
        <a:lnSpc>
          <a:spcPct val="90000"/>
        </a:lnSpc>
        <a:spcBef>
          <a:spcPts val="787"/>
        </a:spcBef>
        <a:buFont typeface="Arial" panose="020B0604020202020204" pitchFamily="34" charset="0"/>
        <a:buChar char="•"/>
        <a:defRPr sz="2835" kern="1200">
          <a:solidFill>
            <a:schemeClr val="tx1"/>
          </a:solidFill>
          <a:latin typeface="+mn-lt"/>
          <a:ea typeface="+mn-ea"/>
          <a:cs typeface="+mn-cs"/>
        </a:defRPr>
      </a:lvl8pPr>
      <a:lvl9pPr marL="6119988" indent="-359999" algn="l" defTabSz="1439997" rtl="0" eaLnBrk="1" latinLnBrk="0" hangingPunct="1">
        <a:lnSpc>
          <a:spcPct val="90000"/>
        </a:lnSpc>
        <a:spcBef>
          <a:spcPts val="787"/>
        </a:spcBef>
        <a:buFont typeface="Arial" panose="020B0604020202020204" pitchFamily="34" charset="0"/>
        <a:buChar char="•"/>
        <a:defRPr sz="2835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439997" rtl="0" eaLnBrk="1" latinLnBrk="0" hangingPunct="1">
        <a:defRPr sz="2835" kern="1200">
          <a:solidFill>
            <a:schemeClr val="tx1"/>
          </a:solidFill>
          <a:latin typeface="+mn-lt"/>
          <a:ea typeface="+mn-ea"/>
          <a:cs typeface="+mn-cs"/>
        </a:defRPr>
      </a:lvl1pPr>
      <a:lvl2pPr marL="719999" algn="l" defTabSz="1439997" rtl="0" eaLnBrk="1" latinLnBrk="0" hangingPunct="1">
        <a:defRPr sz="2835" kern="1200">
          <a:solidFill>
            <a:schemeClr val="tx1"/>
          </a:solidFill>
          <a:latin typeface="+mn-lt"/>
          <a:ea typeface="+mn-ea"/>
          <a:cs typeface="+mn-cs"/>
        </a:defRPr>
      </a:lvl2pPr>
      <a:lvl3pPr marL="1439997" algn="l" defTabSz="1439997" rtl="0" eaLnBrk="1" latinLnBrk="0" hangingPunct="1">
        <a:defRPr sz="2835" kern="1200">
          <a:solidFill>
            <a:schemeClr val="tx1"/>
          </a:solidFill>
          <a:latin typeface="+mn-lt"/>
          <a:ea typeface="+mn-ea"/>
          <a:cs typeface="+mn-cs"/>
        </a:defRPr>
      </a:lvl3pPr>
      <a:lvl4pPr marL="2159996" algn="l" defTabSz="1439997" rtl="0" eaLnBrk="1" latinLnBrk="0" hangingPunct="1">
        <a:defRPr sz="2835" kern="1200">
          <a:solidFill>
            <a:schemeClr val="tx1"/>
          </a:solidFill>
          <a:latin typeface="+mn-lt"/>
          <a:ea typeface="+mn-ea"/>
          <a:cs typeface="+mn-cs"/>
        </a:defRPr>
      </a:lvl4pPr>
      <a:lvl5pPr marL="2879994" algn="l" defTabSz="1439997" rtl="0" eaLnBrk="1" latinLnBrk="0" hangingPunct="1">
        <a:defRPr sz="2835" kern="1200">
          <a:solidFill>
            <a:schemeClr val="tx1"/>
          </a:solidFill>
          <a:latin typeface="+mn-lt"/>
          <a:ea typeface="+mn-ea"/>
          <a:cs typeface="+mn-cs"/>
        </a:defRPr>
      </a:lvl5pPr>
      <a:lvl6pPr marL="3599993" algn="l" defTabSz="1439997" rtl="0" eaLnBrk="1" latinLnBrk="0" hangingPunct="1">
        <a:defRPr sz="2835" kern="1200">
          <a:solidFill>
            <a:schemeClr val="tx1"/>
          </a:solidFill>
          <a:latin typeface="+mn-lt"/>
          <a:ea typeface="+mn-ea"/>
          <a:cs typeface="+mn-cs"/>
        </a:defRPr>
      </a:lvl6pPr>
      <a:lvl7pPr marL="4319991" algn="l" defTabSz="1439997" rtl="0" eaLnBrk="1" latinLnBrk="0" hangingPunct="1">
        <a:defRPr sz="2835" kern="1200">
          <a:solidFill>
            <a:schemeClr val="tx1"/>
          </a:solidFill>
          <a:latin typeface="+mn-lt"/>
          <a:ea typeface="+mn-ea"/>
          <a:cs typeface="+mn-cs"/>
        </a:defRPr>
      </a:lvl7pPr>
      <a:lvl8pPr marL="5039990" algn="l" defTabSz="1439997" rtl="0" eaLnBrk="1" latinLnBrk="0" hangingPunct="1">
        <a:defRPr sz="2835" kern="1200">
          <a:solidFill>
            <a:schemeClr val="tx1"/>
          </a:solidFill>
          <a:latin typeface="+mn-lt"/>
          <a:ea typeface="+mn-ea"/>
          <a:cs typeface="+mn-cs"/>
        </a:defRPr>
      </a:lvl8pPr>
      <a:lvl9pPr marL="5759988" algn="l" defTabSz="1439997" rtl="0" eaLnBrk="1" latinLnBrk="0" hangingPunct="1">
        <a:defRPr sz="283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.xml"/><Relationship Id="rId6" Type="http://schemas.openxmlformats.org/officeDocument/2006/relationships/image" Target="../media/image2.png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oleObject" Target="../embeddings/oleObject5.bin"/><Relationship Id="rId7" Type="http://schemas.openxmlformats.org/officeDocument/2006/relationships/image" Target="../media/image5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.xml"/><Relationship Id="rId6" Type="http://schemas.openxmlformats.org/officeDocument/2006/relationships/customXml" Target="../ink/ink1.xml"/><Relationship Id="rId5" Type="http://schemas.openxmlformats.org/officeDocument/2006/relationships/image" Target="../media/image4.png"/><Relationship Id="rId10" Type="http://schemas.openxmlformats.org/officeDocument/2006/relationships/image" Target="../media/image7.png"/><Relationship Id="rId4" Type="http://schemas.openxmlformats.org/officeDocument/2006/relationships/image" Target="../media/image1.emf"/><Relationship Id="rId9" Type="http://schemas.openxmlformats.org/officeDocument/2006/relationships/customXml" Target="../ink/ink2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emf"/><Relationship Id="rId3" Type="http://schemas.openxmlformats.org/officeDocument/2006/relationships/oleObject" Target="../embeddings/oleObject6.bin"/><Relationship Id="rId7" Type="http://schemas.openxmlformats.org/officeDocument/2006/relationships/image" Target="../media/image9.emf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.xml"/><Relationship Id="rId6" Type="http://schemas.openxmlformats.org/officeDocument/2006/relationships/image" Target="../media/image8.png"/><Relationship Id="rId5" Type="http://schemas.openxmlformats.org/officeDocument/2006/relationships/image" Target="../media/image2.png"/><Relationship Id="rId10" Type="http://schemas.openxmlformats.org/officeDocument/2006/relationships/image" Target="../media/image12.emf"/><Relationship Id="rId4" Type="http://schemas.openxmlformats.org/officeDocument/2006/relationships/image" Target="../media/image1.emf"/><Relationship Id="rId9" Type="http://schemas.openxmlformats.org/officeDocument/2006/relationships/image" Target="../media/image1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18AC38CF-A541-DD0D-3108-94FC41825B9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628913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51" imgH="351" progId="TCLayout.ActiveDocument.1">
                  <p:embed/>
                </p:oleObj>
              </mc:Choice>
              <mc:Fallback>
                <p:oleObj name="think-cell Folie" r:id="rId3" imgW="351" imgH="35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feld 8">
            <a:extLst>
              <a:ext uri="{FF2B5EF4-FFF2-40B4-BE49-F238E27FC236}">
                <a16:creationId xmlns:a16="http://schemas.microsoft.com/office/drawing/2014/main" id="{ADC7156B-D9A5-3F9D-FB5F-33138257332E}"/>
              </a:ext>
            </a:extLst>
          </p:cNvPr>
          <p:cNvSpPr txBox="1"/>
          <p:nvPr/>
        </p:nvSpPr>
        <p:spPr>
          <a:xfrm>
            <a:off x="496255" y="648871"/>
            <a:ext cx="5527795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3600" dirty="0"/>
              <a:t>Proximal Policy Optimization</a:t>
            </a:r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2BAD2724-0155-B7AA-6472-2A633B6769E1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148" r="8148"/>
          <a:stretch/>
        </p:blipFill>
        <p:spPr>
          <a:xfrm>
            <a:off x="-1" y="1692612"/>
            <a:ext cx="12217941" cy="12856113"/>
          </a:xfrm>
          <a:prstGeom prst="rect">
            <a:avLst/>
          </a:prstGeom>
        </p:spPr>
      </p:pic>
      <p:pic>
        <p:nvPicPr>
          <p:cNvPr id="5" name="Grafik 4">
            <a:extLst>
              <a:ext uri="{FF2B5EF4-FFF2-40B4-BE49-F238E27FC236}">
                <a16:creationId xmlns:a16="http://schemas.microsoft.com/office/drawing/2014/main" id="{85346AB1-A393-50A0-E086-710B811B1499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1424" t="3552" r="110" b="74679"/>
          <a:stretch/>
        </p:blipFill>
        <p:spPr>
          <a:xfrm>
            <a:off x="8376163" y="285506"/>
            <a:ext cx="1186775" cy="2687429"/>
          </a:xfrm>
          <a:prstGeom prst="rect">
            <a:avLst/>
          </a:prstGeom>
        </p:spPr>
      </p:pic>
      <p:sp>
        <p:nvSpPr>
          <p:cNvPr id="2" name="Textfeld 1">
            <a:extLst>
              <a:ext uri="{FF2B5EF4-FFF2-40B4-BE49-F238E27FC236}">
                <a16:creationId xmlns:a16="http://schemas.microsoft.com/office/drawing/2014/main" id="{FE81C291-5534-B41C-749E-252049494FC1}"/>
              </a:ext>
            </a:extLst>
          </p:cNvPr>
          <p:cNvSpPr txBox="1"/>
          <p:nvPr/>
        </p:nvSpPr>
        <p:spPr>
          <a:xfrm>
            <a:off x="9578339" y="251460"/>
            <a:ext cx="3831273" cy="26673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ts val="400"/>
              </a:spcBef>
            </a:pPr>
            <a:r>
              <a:rPr lang="en-US" dirty="0"/>
              <a:t>= no production</a:t>
            </a:r>
          </a:p>
          <a:p>
            <a:pPr>
              <a:spcBef>
                <a:spcPts val="400"/>
              </a:spcBef>
            </a:pPr>
            <a:r>
              <a:rPr lang="en-US" dirty="0"/>
              <a:t>= 1 production</a:t>
            </a:r>
          </a:p>
          <a:p>
            <a:pPr>
              <a:spcBef>
                <a:spcPts val="400"/>
              </a:spcBef>
            </a:pPr>
            <a:r>
              <a:rPr lang="en-US" dirty="0"/>
              <a:t>= 2 production</a:t>
            </a:r>
          </a:p>
          <a:p>
            <a:pPr>
              <a:spcBef>
                <a:spcPts val="400"/>
              </a:spcBef>
            </a:pPr>
            <a:r>
              <a:rPr lang="en-US" dirty="0"/>
              <a:t>= 3 production</a:t>
            </a:r>
          </a:p>
          <a:p>
            <a:pPr>
              <a:spcBef>
                <a:spcPts val="400"/>
              </a:spcBef>
            </a:pPr>
            <a:r>
              <a:rPr lang="en-US" dirty="0"/>
              <a:t>= 4 production</a:t>
            </a:r>
          </a:p>
          <a:p>
            <a:pPr>
              <a:spcBef>
                <a:spcPts val="400"/>
              </a:spcBef>
            </a:pPr>
            <a:r>
              <a:rPr lang="en-US" dirty="0"/>
              <a:t>= 3 production + spare part order</a:t>
            </a:r>
          </a:p>
          <a:p>
            <a:pPr>
              <a:spcBef>
                <a:spcPts val="400"/>
              </a:spcBef>
            </a:pPr>
            <a:r>
              <a:rPr lang="en-US" dirty="0"/>
              <a:t>= 4 production + spare part order</a:t>
            </a:r>
          </a:p>
          <a:p>
            <a:pPr>
              <a:spcBef>
                <a:spcPts val="400"/>
              </a:spcBef>
            </a:pPr>
            <a:r>
              <a:rPr lang="en-US" dirty="0"/>
              <a:t>= maintenance</a:t>
            </a:r>
          </a:p>
        </p:txBody>
      </p:sp>
    </p:spTree>
    <p:extLst>
      <p:ext uri="{BB962C8B-B14F-4D97-AF65-F5344CB8AC3E}">
        <p14:creationId xmlns:p14="http://schemas.microsoft.com/office/powerpoint/2010/main" val="351981176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15DB0827-7C39-D22E-6433-C7DBC919B4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51" imgH="351" progId="TCLayout.ActiveDocument.1">
                  <p:embed/>
                </p:oleObj>
              </mc:Choice>
              <mc:Fallback>
                <p:oleObj name="think-cell Folie" r:id="rId3" imgW="351" imgH="351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15DB0827-7C39-D22E-6433-C7DBC919B4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feld 4">
            <a:extLst>
              <a:ext uri="{FF2B5EF4-FFF2-40B4-BE49-F238E27FC236}">
                <a16:creationId xmlns:a16="http://schemas.microsoft.com/office/drawing/2014/main" id="{D26779B1-255B-A676-3AA4-656C3B6EEED5}"/>
              </a:ext>
            </a:extLst>
          </p:cNvPr>
          <p:cNvSpPr txBox="1"/>
          <p:nvPr/>
        </p:nvSpPr>
        <p:spPr>
          <a:xfrm>
            <a:off x="742950" y="762000"/>
            <a:ext cx="6825779" cy="95410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514350" indent="-514350">
              <a:buAutoNum type="arabicParenR"/>
            </a:pPr>
            <a:r>
              <a:rPr lang="en-US" sz="2800" dirty="0"/>
              <a:t>Open “tsne.html” for interactive </a:t>
            </a:r>
            <a:r>
              <a:rPr lang="en-US" sz="2800" dirty="0" err="1"/>
              <a:t>tSNE</a:t>
            </a:r>
            <a:r>
              <a:rPr lang="en-US" sz="2800" dirty="0"/>
              <a:t> plot</a:t>
            </a:r>
          </a:p>
          <a:p>
            <a:pPr marL="514350" indent="-514350">
              <a:buAutoNum type="arabicParenR"/>
            </a:pPr>
            <a:r>
              <a:rPr lang="en-US" sz="2800" dirty="0"/>
              <a:t> Start with one of the circled clusters:</a:t>
            </a:r>
          </a:p>
        </p:txBody>
      </p:sp>
      <p:pic>
        <p:nvPicPr>
          <p:cNvPr id="18" name="Grafik 17">
            <a:extLst>
              <a:ext uri="{FF2B5EF4-FFF2-40B4-BE49-F238E27FC236}">
                <a16:creationId xmlns:a16="http://schemas.microsoft.com/office/drawing/2014/main" id="{8EFB85A2-20F4-D893-1377-22E858DDF2B3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148" r="8148"/>
          <a:stretch/>
        </p:blipFill>
        <p:spPr>
          <a:xfrm>
            <a:off x="-1" y="1692612"/>
            <a:ext cx="12217941" cy="12856113"/>
          </a:xfrm>
          <a:prstGeom prst="rect">
            <a:avLst/>
          </a:prstGeom>
        </p:spPr>
      </p:pic>
      <p:sp>
        <p:nvSpPr>
          <p:cNvPr id="2" name="Freihandform: Form 1">
            <a:extLst>
              <a:ext uri="{FF2B5EF4-FFF2-40B4-BE49-F238E27FC236}">
                <a16:creationId xmlns:a16="http://schemas.microsoft.com/office/drawing/2014/main" id="{074F4C41-89DC-6584-75CE-26B931ABC7CD}"/>
              </a:ext>
            </a:extLst>
          </p:cNvPr>
          <p:cNvSpPr/>
          <p:nvPr/>
        </p:nvSpPr>
        <p:spPr>
          <a:xfrm>
            <a:off x="302835" y="5191125"/>
            <a:ext cx="2497515" cy="3781425"/>
          </a:xfrm>
          <a:custGeom>
            <a:avLst/>
            <a:gdLst>
              <a:gd name="connsiteX0" fmla="*/ 21015 w 2497515"/>
              <a:gd name="connsiteY0" fmla="*/ 495300 h 3781425"/>
              <a:gd name="connsiteX1" fmla="*/ 144840 w 2497515"/>
              <a:gd name="connsiteY1" fmla="*/ 371475 h 3781425"/>
              <a:gd name="connsiteX2" fmla="*/ 297240 w 2497515"/>
              <a:gd name="connsiteY2" fmla="*/ 276225 h 3781425"/>
              <a:gd name="connsiteX3" fmla="*/ 630615 w 2497515"/>
              <a:gd name="connsiteY3" fmla="*/ 123825 h 3781425"/>
              <a:gd name="connsiteX4" fmla="*/ 916365 w 2497515"/>
              <a:gd name="connsiteY4" fmla="*/ 57150 h 3781425"/>
              <a:gd name="connsiteX5" fmla="*/ 1040190 w 2497515"/>
              <a:gd name="connsiteY5" fmla="*/ 28575 h 3781425"/>
              <a:gd name="connsiteX6" fmla="*/ 1135440 w 2497515"/>
              <a:gd name="connsiteY6" fmla="*/ 19050 h 3781425"/>
              <a:gd name="connsiteX7" fmla="*/ 1259265 w 2497515"/>
              <a:gd name="connsiteY7" fmla="*/ 0 h 3781425"/>
              <a:gd name="connsiteX8" fmla="*/ 1773615 w 2497515"/>
              <a:gd name="connsiteY8" fmla="*/ 28575 h 3781425"/>
              <a:gd name="connsiteX9" fmla="*/ 1830765 w 2497515"/>
              <a:gd name="connsiteY9" fmla="*/ 76200 h 3781425"/>
              <a:gd name="connsiteX10" fmla="*/ 1897440 w 2497515"/>
              <a:gd name="connsiteY10" fmla="*/ 190500 h 3781425"/>
              <a:gd name="connsiteX11" fmla="*/ 1964115 w 2497515"/>
              <a:gd name="connsiteY11" fmla="*/ 466725 h 3781425"/>
              <a:gd name="connsiteX12" fmla="*/ 1992690 w 2497515"/>
              <a:gd name="connsiteY12" fmla="*/ 581025 h 3781425"/>
              <a:gd name="connsiteX13" fmla="*/ 2030790 w 2497515"/>
              <a:gd name="connsiteY13" fmla="*/ 695325 h 3781425"/>
              <a:gd name="connsiteX14" fmla="*/ 2097465 w 2497515"/>
              <a:gd name="connsiteY14" fmla="*/ 933450 h 3781425"/>
              <a:gd name="connsiteX15" fmla="*/ 2116515 w 2497515"/>
              <a:gd name="connsiteY15" fmla="*/ 1038225 h 3781425"/>
              <a:gd name="connsiteX16" fmla="*/ 2164140 w 2497515"/>
              <a:gd name="connsiteY16" fmla="*/ 1162050 h 3781425"/>
              <a:gd name="connsiteX17" fmla="*/ 2230815 w 2497515"/>
              <a:gd name="connsiteY17" fmla="*/ 1390650 h 3781425"/>
              <a:gd name="connsiteX18" fmla="*/ 2268915 w 2497515"/>
              <a:gd name="connsiteY18" fmla="*/ 1524000 h 3781425"/>
              <a:gd name="connsiteX19" fmla="*/ 2287965 w 2497515"/>
              <a:gd name="connsiteY19" fmla="*/ 1619250 h 3781425"/>
              <a:gd name="connsiteX20" fmla="*/ 2316540 w 2497515"/>
              <a:gd name="connsiteY20" fmla="*/ 1714500 h 3781425"/>
              <a:gd name="connsiteX21" fmla="*/ 2345115 w 2497515"/>
              <a:gd name="connsiteY21" fmla="*/ 1866900 h 3781425"/>
              <a:gd name="connsiteX22" fmla="*/ 2392740 w 2497515"/>
              <a:gd name="connsiteY22" fmla="*/ 2171700 h 3781425"/>
              <a:gd name="connsiteX23" fmla="*/ 2421315 w 2497515"/>
              <a:gd name="connsiteY23" fmla="*/ 2276475 h 3781425"/>
              <a:gd name="connsiteX24" fmla="*/ 2468940 w 2497515"/>
              <a:gd name="connsiteY24" fmla="*/ 2495550 h 3781425"/>
              <a:gd name="connsiteX25" fmla="*/ 2487990 w 2497515"/>
              <a:gd name="connsiteY25" fmla="*/ 2619375 h 3781425"/>
              <a:gd name="connsiteX26" fmla="*/ 2497515 w 2497515"/>
              <a:gd name="connsiteY26" fmla="*/ 2676525 h 3781425"/>
              <a:gd name="connsiteX27" fmla="*/ 2478465 w 2497515"/>
              <a:gd name="connsiteY27" fmla="*/ 2847975 h 3781425"/>
              <a:gd name="connsiteX28" fmla="*/ 2421315 w 2497515"/>
              <a:gd name="connsiteY28" fmla="*/ 2971800 h 3781425"/>
              <a:gd name="connsiteX29" fmla="*/ 2354640 w 2497515"/>
              <a:gd name="connsiteY29" fmla="*/ 3095625 h 3781425"/>
              <a:gd name="connsiteX30" fmla="*/ 2240340 w 2497515"/>
              <a:gd name="connsiteY30" fmla="*/ 3219450 h 3781425"/>
              <a:gd name="connsiteX31" fmla="*/ 2068890 w 2497515"/>
              <a:gd name="connsiteY31" fmla="*/ 3371850 h 3781425"/>
              <a:gd name="connsiteX32" fmla="*/ 1954590 w 2497515"/>
              <a:gd name="connsiteY32" fmla="*/ 3448050 h 3781425"/>
              <a:gd name="connsiteX33" fmla="*/ 1878390 w 2497515"/>
              <a:gd name="connsiteY33" fmla="*/ 3514725 h 3781425"/>
              <a:gd name="connsiteX34" fmla="*/ 1706940 w 2497515"/>
              <a:gd name="connsiteY34" fmla="*/ 3600450 h 3781425"/>
              <a:gd name="connsiteX35" fmla="*/ 1630740 w 2497515"/>
              <a:gd name="connsiteY35" fmla="*/ 3638550 h 3781425"/>
              <a:gd name="connsiteX36" fmla="*/ 1478340 w 2497515"/>
              <a:gd name="connsiteY36" fmla="*/ 3686175 h 3781425"/>
              <a:gd name="connsiteX37" fmla="*/ 1402140 w 2497515"/>
              <a:gd name="connsiteY37" fmla="*/ 3714750 h 3781425"/>
              <a:gd name="connsiteX38" fmla="*/ 1287840 w 2497515"/>
              <a:gd name="connsiteY38" fmla="*/ 3733800 h 3781425"/>
              <a:gd name="connsiteX39" fmla="*/ 1002090 w 2497515"/>
              <a:gd name="connsiteY39" fmla="*/ 3781425 h 3781425"/>
              <a:gd name="connsiteX40" fmla="*/ 840165 w 2497515"/>
              <a:gd name="connsiteY40" fmla="*/ 3752850 h 3781425"/>
              <a:gd name="connsiteX41" fmla="*/ 649665 w 2497515"/>
              <a:gd name="connsiteY41" fmla="*/ 3543300 h 3781425"/>
              <a:gd name="connsiteX42" fmla="*/ 506790 w 2497515"/>
              <a:gd name="connsiteY42" fmla="*/ 3333750 h 3781425"/>
              <a:gd name="connsiteX43" fmla="*/ 421065 w 2497515"/>
              <a:gd name="connsiteY43" fmla="*/ 3095625 h 3781425"/>
              <a:gd name="connsiteX44" fmla="*/ 354390 w 2497515"/>
              <a:gd name="connsiteY44" fmla="*/ 2857500 h 3781425"/>
              <a:gd name="connsiteX45" fmla="*/ 297240 w 2497515"/>
              <a:gd name="connsiteY45" fmla="*/ 2590800 h 3781425"/>
              <a:gd name="connsiteX46" fmla="*/ 268665 w 2497515"/>
              <a:gd name="connsiteY46" fmla="*/ 2466975 h 3781425"/>
              <a:gd name="connsiteX47" fmla="*/ 230565 w 2497515"/>
              <a:gd name="connsiteY47" fmla="*/ 2247900 h 3781425"/>
              <a:gd name="connsiteX48" fmla="*/ 211515 w 2497515"/>
              <a:gd name="connsiteY48" fmla="*/ 2047875 h 3781425"/>
              <a:gd name="connsiteX49" fmla="*/ 201990 w 2497515"/>
              <a:gd name="connsiteY49" fmla="*/ 1971675 h 3781425"/>
              <a:gd name="connsiteX50" fmla="*/ 182940 w 2497515"/>
              <a:gd name="connsiteY50" fmla="*/ 1362075 h 3781425"/>
              <a:gd name="connsiteX51" fmla="*/ 163890 w 2497515"/>
              <a:gd name="connsiteY51" fmla="*/ 1266825 h 3781425"/>
              <a:gd name="connsiteX52" fmla="*/ 144840 w 2497515"/>
              <a:gd name="connsiteY52" fmla="*/ 1104900 h 3781425"/>
              <a:gd name="connsiteX53" fmla="*/ 116265 w 2497515"/>
              <a:gd name="connsiteY53" fmla="*/ 1019175 h 3781425"/>
              <a:gd name="connsiteX54" fmla="*/ 97215 w 2497515"/>
              <a:gd name="connsiteY54" fmla="*/ 933450 h 3781425"/>
              <a:gd name="connsiteX55" fmla="*/ 78165 w 2497515"/>
              <a:gd name="connsiteY55" fmla="*/ 857250 h 3781425"/>
              <a:gd name="connsiteX56" fmla="*/ 68640 w 2497515"/>
              <a:gd name="connsiteY56" fmla="*/ 809625 h 3781425"/>
              <a:gd name="connsiteX57" fmla="*/ 49590 w 2497515"/>
              <a:gd name="connsiteY57" fmla="*/ 752475 h 3781425"/>
              <a:gd name="connsiteX58" fmla="*/ 30540 w 2497515"/>
              <a:gd name="connsiteY58" fmla="*/ 666750 h 3781425"/>
              <a:gd name="connsiteX59" fmla="*/ 21015 w 2497515"/>
              <a:gd name="connsiteY59" fmla="*/ 619125 h 3781425"/>
              <a:gd name="connsiteX60" fmla="*/ 1965 w 2497515"/>
              <a:gd name="connsiteY60" fmla="*/ 552450 h 3781425"/>
              <a:gd name="connsiteX61" fmla="*/ 21015 w 2497515"/>
              <a:gd name="connsiteY61" fmla="*/ 495300 h 37814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</a:cxnLst>
            <a:rect l="l" t="t" r="r" b="b"/>
            <a:pathLst>
              <a:path w="2497515" h="3781425">
                <a:moveTo>
                  <a:pt x="21015" y="495300"/>
                </a:moveTo>
                <a:cubicBezTo>
                  <a:pt x="44827" y="465138"/>
                  <a:pt x="-99649" y="575216"/>
                  <a:pt x="144840" y="371475"/>
                </a:cubicBezTo>
                <a:cubicBezTo>
                  <a:pt x="190861" y="333124"/>
                  <a:pt x="244946" y="305448"/>
                  <a:pt x="297240" y="276225"/>
                </a:cubicBezTo>
                <a:cubicBezTo>
                  <a:pt x="388889" y="225010"/>
                  <a:pt x="530205" y="159454"/>
                  <a:pt x="630615" y="123825"/>
                </a:cubicBezTo>
                <a:cubicBezTo>
                  <a:pt x="751335" y="80989"/>
                  <a:pt x="788212" y="83665"/>
                  <a:pt x="916365" y="57150"/>
                </a:cubicBezTo>
                <a:cubicBezTo>
                  <a:pt x="957846" y="48568"/>
                  <a:pt x="998457" y="35833"/>
                  <a:pt x="1040190" y="28575"/>
                </a:cubicBezTo>
                <a:cubicBezTo>
                  <a:pt x="1071626" y="23108"/>
                  <a:pt x="1103800" y="23177"/>
                  <a:pt x="1135440" y="19050"/>
                </a:cubicBezTo>
                <a:cubicBezTo>
                  <a:pt x="1176850" y="13649"/>
                  <a:pt x="1217990" y="6350"/>
                  <a:pt x="1259265" y="0"/>
                </a:cubicBezTo>
                <a:cubicBezTo>
                  <a:pt x="1430715" y="9525"/>
                  <a:pt x="1602535" y="13827"/>
                  <a:pt x="1773615" y="28575"/>
                </a:cubicBezTo>
                <a:cubicBezTo>
                  <a:pt x="1805776" y="31348"/>
                  <a:pt x="1816882" y="53062"/>
                  <a:pt x="1830765" y="76200"/>
                </a:cubicBezTo>
                <a:cubicBezTo>
                  <a:pt x="1853459" y="114023"/>
                  <a:pt x="1875215" y="152400"/>
                  <a:pt x="1897440" y="190500"/>
                </a:cubicBezTo>
                <a:cubicBezTo>
                  <a:pt x="1919665" y="282575"/>
                  <a:pt x="1941671" y="374703"/>
                  <a:pt x="1964115" y="466725"/>
                </a:cubicBezTo>
                <a:cubicBezTo>
                  <a:pt x="1973421" y="504879"/>
                  <a:pt x="1980271" y="543768"/>
                  <a:pt x="1992690" y="581025"/>
                </a:cubicBezTo>
                <a:lnTo>
                  <a:pt x="2030790" y="695325"/>
                </a:lnTo>
                <a:cubicBezTo>
                  <a:pt x="2073872" y="975357"/>
                  <a:pt x="2016229" y="666532"/>
                  <a:pt x="2097465" y="933450"/>
                </a:cubicBezTo>
                <a:cubicBezTo>
                  <a:pt x="2107801" y="967410"/>
                  <a:pt x="2106576" y="1004147"/>
                  <a:pt x="2116515" y="1038225"/>
                </a:cubicBezTo>
                <a:cubicBezTo>
                  <a:pt x="2128897" y="1080679"/>
                  <a:pt x="2150497" y="1119984"/>
                  <a:pt x="2164140" y="1162050"/>
                </a:cubicBezTo>
                <a:cubicBezTo>
                  <a:pt x="2188628" y="1237553"/>
                  <a:pt x="2208744" y="1314405"/>
                  <a:pt x="2230815" y="1390650"/>
                </a:cubicBezTo>
                <a:cubicBezTo>
                  <a:pt x="2243669" y="1435056"/>
                  <a:pt x="2259849" y="1478669"/>
                  <a:pt x="2268915" y="1524000"/>
                </a:cubicBezTo>
                <a:cubicBezTo>
                  <a:pt x="2275265" y="1555750"/>
                  <a:pt x="2280112" y="1587838"/>
                  <a:pt x="2287965" y="1619250"/>
                </a:cubicBezTo>
                <a:cubicBezTo>
                  <a:pt x="2296005" y="1651408"/>
                  <a:pt x="2309086" y="1682201"/>
                  <a:pt x="2316540" y="1714500"/>
                </a:cubicBezTo>
                <a:cubicBezTo>
                  <a:pt x="2328162" y="1764862"/>
                  <a:pt x="2336618" y="1815918"/>
                  <a:pt x="2345115" y="1866900"/>
                </a:cubicBezTo>
                <a:cubicBezTo>
                  <a:pt x="2362021" y="1968334"/>
                  <a:pt x="2365683" y="2072491"/>
                  <a:pt x="2392740" y="2171700"/>
                </a:cubicBezTo>
                <a:cubicBezTo>
                  <a:pt x="2402265" y="2206625"/>
                  <a:pt x="2412535" y="2241355"/>
                  <a:pt x="2421315" y="2276475"/>
                </a:cubicBezTo>
                <a:cubicBezTo>
                  <a:pt x="2439259" y="2348251"/>
                  <a:pt x="2455274" y="2422663"/>
                  <a:pt x="2468940" y="2495550"/>
                </a:cubicBezTo>
                <a:cubicBezTo>
                  <a:pt x="2479122" y="2549856"/>
                  <a:pt x="2479260" y="2562630"/>
                  <a:pt x="2487990" y="2619375"/>
                </a:cubicBezTo>
                <a:cubicBezTo>
                  <a:pt x="2490927" y="2638463"/>
                  <a:pt x="2494340" y="2657475"/>
                  <a:pt x="2497515" y="2676525"/>
                </a:cubicBezTo>
                <a:cubicBezTo>
                  <a:pt x="2491165" y="2733675"/>
                  <a:pt x="2498655" y="2794134"/>
                  <a:pt x="2478465" y="2847975"/>
                </a:cubicBezTo>
                <a:cubicBezTo>
                  <a:pt x="2430925" y="2974748"/>
                  <a:pt x="2472353" y="2878230"/>
                  <a:pt x="2421315" y="2971800"/>
                </a:cubicBezTo>
                <a:cubicBezTo>
                  <a:pt x="2395956" y="3018291"/>
                  <a:pt x="2385683" y="3050784"/>
                  <a:pt x="2354640" y="3095625"/>
                </a:cubicBezTo>
                <a:cubicBezTo>
                  <a:pt x="2328605" y="3133231"/>
                  <a:pt x="2271680" y="3190617"/>
                  <a:pt x="2240340" y="3219450"/>
                </a:cubicBezTo>
                <a:cubicBezTo>
                  <a:pt x="2184068" y="3271221"/>
                  <a:pt x="2132512" y="3329435"/>
                  <a:pt x="2068890" y="3371850"/>
                </a:cubicBezTo>
                <a:cubicBezTo>
                  <a:pt x="2030790" y="3397250"/>
                  <a:pt x="1991222" y="3420576"/>
                  <a:pt x="1954590" y="3448050"/>
                </a:cubicBezTo>
                <a:cubicBezTo>
                  <a:pt x="1927589" y="3468300"/>
                  <a:pt x="1905963" y="3495262"/>
                  <a:pt x="1878390" y="3514725"/>
                </a:cubicBezTo>
                <a:cubicBezTo>
                  <a:pt x="1824136" y="3553022"/>
                  <a:pt x="1766282" y="3572524"/>
                  <a:pt x="1706940" y="3600450"/>
                </a:cubicBezTo>
                <a:cubicBezTo>
                  <a:pt x="1681245" y="3612542"/>
                  <a:pt x="1656757" y="3627168"/>
                  <a:pt x="1630740" y="3638550"/>
                </a:cubicBezTo>
                <a:cubicBezTo>
                  <a:pt x="1527273" y="3683817"/>
                  <a:pt x="1583514" y="3653308"/>
                  <a:pt x="1478340" y="3686175"/>
                </a:cubicBezTo>
                <a:cubicBezTo>
                  <a:pt x="1452448" y="3694266"/>
                  <a:pt x="1428457" y="3708171"/>
                  <a:pt x="1402140" y="3714750"/>
                </a:cubicBezTo>
                <a:cubicBezTo>
                  <a:pt x="1364668" y="3724118"/>
                  <a:pt x="1325804" y="3726682"/>
                  <a:pt x="1287840" y="3733800"/>
                </a:cubicBezTo>
                <a:cubicBezTo>
                  <a:pt x="1034367" y="3781326"/>
                  <a:pt x="1177388" y="3763895"/>
                  <a:pt x="1002090" y="3781425"/>
                </a:cubicBezTo>
                <a:cubicBezTo>
                  <a:pt x="948115" y="3771900"/>
                  <a:pt x="887293" y="3780832"/>
                  <a:pt x="840165" y="3752850"/>
                </a:cubicBezTo>
                <a:cubicBezTo>
                  <a:pt x="838310" y="3751748"/>
                  <a:pt x="685609" y="3593621"/>
                  <a:pt x="649665" y="3543300"/>
                </a:cubicBezTo>
                <a:cubicBezTo>
                  <a:pt x="600527" y="3474506"/>
                  <a:pt x="535426" y="3413293"/>
                  <a:pt x="506790" y="3333750"/>
                </a:cubicBezTo>
                <a:cubicBezTo>
                  <a:pt x="478215" y="3254375"/>
                  <a:pt x="441526" y="3177468"/>
                  <a:pt x="421065" y="3095625"/>
                </a:cubicBezTo>
                <a:cubicBezTo>
                  <a:pt x="308645" y="2645943"/>
                  <a:pt x="484720" y="3341583"/>
                  <a:pt x="354390" y="2857500"/>
                </a:cubicBezTo>
                <a:cubicBezTo>
                  <a:pt x="329308" y="2764337"/>
                  <a:pt x="317596" y="2685796"/>
                  <a:pt x="297240" y="2590800"/>
                </a:cubicBezTo>
                <a:cubicBezTo>
                  <a:pt x="288364" y="2549381"/>
                  <a:pt x="278190" y="2508250"/>
                  <a:pt x="268665" y="2466975"/>
                </a:cubicBezTo>
                <a:cubicBezTo>
                  <a:pt x="250066" y="2262384"/>
                  <a:pt x="273826" y="2464203"/>
                  <a:pt x="230565" y="2247900"/>
                </a:cubicBezTo>
                <a:cubicBezTo>
                  <a:pt x="220673" y="2198438"/>
                  <a:pt x="215294" y="2087551"/>
                  <a:pt x="211515" y="2047875"/>
                </a:cubicBezTo>
                <a:cubicBezTo>
                  <a:pt x="209088" y="2022393"/>
                  <a:pt x="205165" y="1997075"/>
                  <a:pt x="201990" y="1971675"/>
                </a:cubicBezTo>
                <a:cubicBezTo>
                  <a:pt x="201501" y="1951608"/>
                  <a:pt x="192049" y="1462270"/>
                  <a:pt x="182940" y="1362075"/>
                </a:cubicBezTo>
                <a:cubicBezTo>
                  <a:pt x="180009" y="1329829"/>
                  <a:pt x="168693" y="1298846"/>
                  <a:pt x="163890" y="1266825"/>
                </a:cubicBezTo>
                <a:cubicBezTo>
                  <a:pt x="159877" y="1240074"/>
                  <a:pt x="153427" y="1139249"/>
                  <a:pt x="144840" y="1104900"/>
                </a:cubicBezTo>
                <a:cubicBezTo>
                  <a:pt x="137535" y="1075679"/>
                  <a:pt x="124327" y="1048197"/>
                  <a:pt x="116265" y="1019175"/>
                </a:cubicBezTo>
                <a:cubicBezTo>
                  <a:pt x="108431" y="990971"/>
                  <a:pt x="103919" y="961944"/>
                  <a:pt x="97215" y="933450"/>
                </a:cubicBezTo>
                <a:cubicBezTo>
                  <a:pt x="91218" y="907964"/>
                  <a:pt x="84052" y="882761"/>
                  <a:pt x="78165" y="857250"/>
                </a:cubicBezTo>
                <a:cubicBezTo>
                  <a:pt x="74525" y="841475"/>
                  <a:pt x="72900" y="825244"/>
                  <a:pt x="68640" y="809625"/>
                </a:cubicBezTo>
                <a:cubicBezTo>
                  <a:pt x="63356" y="790252"/>
                  <a:pt x="53528" y="772166"/>
                  <a:pt x="49590" y="752475"/>
                </a:cubicBezTo>
                <a:cubicBezTo>
                  <a:pt x="20862" y="608836"/>
                  <a:pt x="57443" y="787814"/>
                  <a:pt x="30540" y="666750"/>
                </a:cubicBezTo>
                <a:cubicBezTo>
                  <a:pt x="27028" y="650946"/>
                  <a:pt x="24942" y="634831"/>
                  <a:pt x="21015" y="619125"/>
                </a:cubicBezTo>
                <a:cubicBezTo>
                  <a:pt x="13790" y="590226"/>
                  <a:pt x="5528" y="584520"/>
                  <a:pt x="1965" y="552450"/>
                </a:cubicBezTo>
                <a:cubicBezTo>
                  <a:pt x="212" y="536672"/>
                  <a:pt x="-2797" y="525462"/>
                  <a:pt x="21015" y="495300"/>
                </a:cubicBezTo>
                <a:close/>
              </a:path>
            </a:pathLst>
          </a:cu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reihandform: Form 2">
            <a:extLst>
              <a:ext uri="{FF2B5EF4-FFF2-40B4-BE49-F238E27FC236}">
                <a16:creationId xmlns:a16="http://schemas.microsoft.com/office/drawing/2014/main" id="{98B1EEC7-0C44-872E-02C4-68E2323C56F8}"/>
              </a:ext>
            </a:extLst>
          </p:cNvPr>
          <p:cNvSpPr/>
          <p:nvPr/>
        </p:nvSpPr>
        <p:spPr>
          <a:xfrm>
            <a:off x="3886200" y="7000875"/>
            <a:ext cx="2610544" cy="3009900"/>
          </a:xfrm>
          <a:custGeom>
            <a:avLst/>
            <a:gdLst>
              <a:gd name="connsiteX0" fmla="*/ 161925 w 2610544"/>
              <a:gd name="connsiteY0" fmla="*/ 2409825 h 3009900"/>
              <a:gd name="connsiteX1" fmla="*/ 114300 w 2610544"/>
              <a:gd name="connsiteY1" fmla="*/ 2352675 h 3009900"/>
              <a:gd name="connsiteX2" fmla="*/ 85725 w 2610544"/>
              <a:gd name="connsiteY2" fmla="*/ 2276475 h 3009900"/>
              <a:gd name="connsiteX3" fmla="*/ 57150 w 2610544"/>
              <a:gd name="connsiteY3" fmla="*/ 2219325 h 3009900"/>
              <a:gd name="connsiteX4" fmla="*/ 19050 w 2610544"/>
              <a:gd name="connsiteY4" fmla="*/ 2105025 h 3009900"/>
              <a:gd name="connsiteX5" fmla="*/ 0 w 2610544"/>
              <a:gd name="connsiteY5" fmla="*/ 1981200 h 3009900"/>
              <a:gd name="connsiteX6" fmla="*/ 19050 w 2610544"/>
              <a:gd name="connsiteY6" fmla="*/ 1704975 h 3009900"/>
              <a:gd name="connsiteX7" fmla="*/ 28575 w 2610544"/>
              <a:gd name="connsiteY7" fmla="*/ 1638300 h 3009900"/>
              <a:gd name="connsiteX8" fmla="*/ 57150 w 2610544"/>
              <a:gd name="connsiteY8" fmla="*/ 1562100 h 3009900"/>
              <a:gd name="connsiteX9" fmla="*/ 85725 w 2610544"/>
              <a:gd name="connsiteY9" fmla="*/ 1457325 h 3009900"/>
              <a:gd name="connsiteX10" fmla="*/ 219075 w 2610544"/>
              <a:gd name="connsiteY10" fmla="*/ 1171575 h 3009900"/>
              <a:gd name="connsiteX11" fmla="*/ 333375 w 2610544"/>
              <a:gd name="connsiteY11" fmla="*/ 981075 h 3009900"/>
              <a:gd name="connsiteX12" fmla="*/ 409575 w 2610544"/>
              <a:gd name="connsiteY12" fmla="*/ 895350 h 3009900"/>
              <a:gd name="connsiteX13" fmla="*/ 533400 w 2610544"/>
              <a:gd name="connsiteY13" fmla="*/ 733425 h 3009900"/>
              <a:gd name="connsiteX14" fmla="*/ 590550 w 2610544"/>
              <a:gd name="connsiteY14" fmla="*/ 685800 h 3009900"/>
              <a:gd name="connsiteX15" fmla="*/ 638175 w 2610544"/>
              <a:gd name="connsiteY15" fmla="*/ 609600 h 3009900"/>
              <a:gd name="connsiteX16" fmla="*/ 714375 w 2610544"/>
              <a:gd name="connsiteY16" fmla="*/ 533400 h 3009900"/>
              <a:gd name="connsiteX17" fmla="*/ 733425 w 2610544"/>
              <a:gd name="connsiteY17" fmla="*/ 495300 h 3009900"/>
              <a:gd name="connsiteX18" fmla="*/ 809625 w 2610544"/>
              <a:gd name="connsiteY18" fmla="*/ 438150 h 3009900"/>
              <a:gd name="connsiteX19" fmla="*/ 838200 w 2610544"/>
              <a:gd name="connsiteY19" fmla="*/ 400050 h 3009900"/>
              <a:gd name="connsiteX20" fmla="*/ 904875 w 2610544"/>
              <a:gd name="connsiteY20" fmla="*/ 352425 h 3009900"/>
              <a:gd name="connsiteX21" fmla="*/ 942975 w 2610544"/>
              <a:gd name="connsiteY21" fmla="*/ 333375 h 3009900"/>
              <a:gd name="connsiteX22" fmla="*/ 1000125 w 2610544"/>
              <a:gd name="connsiteY22" fmla="*/ 276225 h 3009900"/>
              <a:gd name="connsiteX23" fmla="*/ 1057275 w 2610544"/>
              <a:gd name="connsiteY23" fmla="*/ 247650 h 3009900"/>
              <a:gd name="connsiteX24" fmla="*/ 1143000 w 2610544"/>
              <a:gd name="connsiteY24" fmla="*/ 190500 h 3009900"/>
              <a:gd name="connsiteX25" fmla="*/ 1209675 w 2610544"/>
              <a:gd name="connsiteY25" fmla="*/ 142875 h 3009900"/>
              <a:gd name="connsiteX26" fmla="*/ 1276350 w 2610544"/>
              <a:gd name="connsiteY26" fmla="*/ 85725 h 3009900"/>
              <a:gd name="connsiteX27" fmla="*/ 1314450 w 2610544"/>
              <a:gd name="connsiteY27" fmla="*/ 57150 h 3009900"/>
              <a:gd name="connsiteX28" fmla="*/ 1371600 w 2610544"/>
              <a:gd name="connsiteY28" fmla="*/ 28575 h 3009900"/>
              <a:gd name="connsiteX29" fmla="*/ 1419225 w 2610544"/>
              <a:gd name="connsiteY29" fmla="*/ 0 h 3009900"/>
              <a:gd name="connsiteX30" fmla="*/ 1571625 w 2610544"/>
              <a:gd name="connsiteY30" fmla="*/ 9525 h 3009900"/>
              <a:gd name="connsiteX31" fmla="*/ 1609725 w 2610544"/>
              <a:gd name="connsiteY31" fmla="*/ 28575 h 3009900"/>
              <a:gd name="connsiteX32" fmla="*/ 1657350 w 2610544"/>
              <a:gd name="connsiteY32" fmla="*/ 47625 h 3009900"/>
              <a:gd name="connsiteX33" fmla="*/ 1790700 w 2610544"/>
              <a:gd name="connsiteY33" fmla="*/ 133350 h 3009900"/>
              <a:gd name="connsiteX34" fmla="*/ 1838325 w 2610544"/>
              <a:gd name="connsiteY34" fmla="*/ 190500 h 3009900"/>
              <a:gd name="connsiteX35" fmla="*/ 1876425 w 2610544"/>
              <a:gd name="connsiteY35" fmla="*/ 219075 h 3009900"/>
              <a:gd name="connsiteX36" fmla="*/ 1905000 w 2610544"/>
              <a:gd name="connsiteY36" fmla="*/ 257175 h 3009900"/>
              <a:gd name="connsiteX37" fmla="*/ 2019300 w 2610544"/>
              <a:gd name="connsiteY37" fmla="*/ 361950 h 3009900"/>
              <a:gd name="connsiteX38" fmla="*/ 2105025 w 2610544"/>
              <a:gd name="connsiteY38" fmla="*/ 457200 h 3009900"/>
              <a:gd name="connsiteX39" fmla="*/ 2143125 w 2610544"/>
              <a:gd name="connsiteY39" fmla="*/ 504825 h 3009900"/>
              <a:gd name="connsiteX40" fmla="*/ 2190750 w 2610544"/>
              <a:gd name="connsiteY40" fmla="*/ 552450 h 3009900"/>
              <a:gd name="connsiteX41" fmla="*/ 2228850 w 2610544"/>
              <a:gd name="connsiteY41" fmla="*/ 609600 h 3009900"/>
              <a:gd name="connsiteX42" fmla="*/ 2381250 w 2610544"/>
              <a:gd name="connsiteY42" fmla="*/ 771525 h 3009900"/>
              <a:gd name="connsiteX43" fmla="*/ 2409825 w 2610544"/>
              <a:gd name="connsiteY43" fmla="*/ 800100 h 3009900"/>
              <a:gd name="connsiteX44" fmla="*/ 2447925 w 2610544"/>
              <a:gd name="connsiteY44" fmla="*/ 838200 h 3009900"/>
              <a:gd name="connsiteX45" fmla="*/ 2466975 w 2610544"/>
              <a:gd name="connsiteY45" fmla="*/ 866775 h 3009900"/>
              <a:gd name="connsiteX46" fmla="*/ 2505075 w 2610544"/>
              <a:gd name="connsiteY46" fmla="*/ 895350 h 3009900"/>
              <a:gd name="connsiteX47" fmla="*/ 2581275 w 2610544"/>
              <a:gd name="connsiteY47" fmla="*/ 1019175 h 3009900"/>
              <a:gd name="connsiteX48" fmla="*/ 2590800 w 2610544"/>
              <a:gd name="connsiteY48" fmla="*/ 1066800 h 3009900"/>
              <a:gd name="connsiteX49" fmla="*/ 2609850 w 2610544"/>
              <a:gd name="connsiteY49" fmla="*/ 1104900 h 3009900"/>
              <a:gd name="connsiteX50" fmla="*/ 2600325 w 2610544"/>
              <a:gd name="connsiteY50" fmla="*/ 1276350 h 3009900"/>
              <a:gd name="connsiteX51" fmla="*/ 2581275 w 2610544"/>
              <a:gd name="connsiteY51" fmla="*/ 1333500 h 3009900"/>
              <a:gd name="connsiteX52" fmla="*/ 2543175 w 2610544"/>
              <a:gd name="connsiteY52" fmla="*/ 1409700 h 3009900"/>
              <a:gd name="connsiteX53" fmla="*/ 2486025 w 2610544"/>
              <a:gd name="connsiteY53" fmla="*/ 1504950 h 3009900"/>
              <a:gd name="connsiteX54" fmla="*/ 2447925 w 2610544"/>
              <a:gd name="connsiteY54" fmla="*/ 1543050 h 3009900"/>
              <a:gd name="connsiteX55" fmla="*/ 2381250 w 2610544"/>
              <a:gd name="connsiteY55" fmla="*/ 1647825 h 3009900"/>
              <a:gd name="connsiteX56" fmla="*/ 2352675 w 2610544"/>
              <a:gd name="connsiteY56" fmla="*/ 1685925 h 3009900"/>
              <a:gd name="connsiteX57" fmla="*/ 2324100 w 2610544"/>
              <a:gd name="connsiteY57" fmla="*/ 1762125 h 3009900"/>
              <a:gd name="connsiteX58" fmla="*/ 2295525 w 2610544"/>
              <a:gd name="connsiteY58" fmla="*/ 1800225 h 3009900"/>
              <a:gd name="connsiteX59" fmla="*/ 2219325 w 2610544"/>
              <a:gd name="connsiteY59" fmla="*/ 1952625 h 3009900"/>
              <a:gd name="connsiteX60" fmla="*/ 2124075 w 2610544"/>
              <a:gd name="connsiteY60" fmla="*/ 2133600 h 3009900"/>
              <a:gd name="connsiteX61" fmla="*/ 2047875 w 2610544"/>
              <a:gd name="connsiteY61" fmla="*/ 2276475 h 3009900"/>
              <a:gd name="connsiteX62" fmla="*/ 2019300 w 2610544"/>
              <a:gd name="connsiteY62" fmla="*/ 2352675 h 3009900"/>
              <a:gd name="connsiteX63" fmla="*/ 1971675 w 2610544"/>
              <a:gd name="connsiteY63" fmla="*/ 2438400 h 3009900"/>
              <a:gd name="connsiteX64" fmla="*/ 1885950 w 2610544"/>
              <a:gd name="connsiteY64" fmla="*/ 2543175 h 3009900"/>
              <a:gd name="connsiteX65" fmla="*/ 1809750 w 2610544"/>
              <a:gd name="connsiteY65" fmla="*/ 2647950 h 3009900"/>
              <a:gd name="connsiteX66" fmla="*/ 1714500 w 2610544"/>
              <a:gd name="connsiteY66" fmla="*/ 2762250 h 3009900"/>
              <a:gd name="connsiteX67" fmla="*/ 1676400 w 2610544"/>
              <a:gd name="connsiteY67" fmla="*/ 2809875 h 3009900"/>
              <a:gd name="connsiteX68" fmla="*/ 1638300 w 2610544"/>
              <a:gd name="connsiteY68" fmla="*/ 2857500 h 3009900"/>
              <a:gd name="connsiteX69" fmla="*/ 1600200 w 2610544"/>
              <a:gd name="connsiteY69" fmla="*/ 2895600 h 3009900"/>
              <a:gd name="connsiteX70" fmla="*/ 1552575 w 2610544"/>
              <a:gd name="connsiteY70" fmla="*/ 2924175 h 3009900"/>
              <a:gd name="connsiteX71" fmla="*/ 1514475 w 2610544"/>
              <a:gd name="connsiteY71" fmla="*/ 2962275 h 3009900"/>
              <a:gd name="connsiteX72" fmla="*/ 1419225 w 2610544"/>
              <a:gd name="connsiteY72" fmla="*/ 3009900 h 3009900"/>
              <a:gd name="connsiteX73" fmla="*/ 1085850 w 2610544"/>
              <a:gd name="connsiteY73" fmla="*/ 2971800 h 3009900"/>
              <a:gd name="connsiteX74" fmla="*/ 1000125 w 2610544"/>
              <a:gd name="connsiteY74" fmla="*/ 2952750 h 3009900"/>
              <a:gd name="connsiteX75" fmla="*/ 923925 w 2610544"/>
              <a:gd name="connsiteY75" fmla="*/ 2943225 h 3009900"/>
              <a:gd name="connsiteX76" fmla="*/ 866775 w 2610544"/>
              <a:gd name="connsiteY76" fmla="*/ 2914650 h 3009900"/>
              <a:gd name="connsiteX77" fmla="*/ 714375 w 2610544"/>
              <a:gd name="connsiteY77" fmla="*/ 2867025 h 3009900"/>
              <a:gd name="connsiteX78" fmla="*/ 638175 w 2610544"/>
              <a:gd name="connsiteY78" fmla="*/ 2828925 h 3009900"/>
              <a:gd name="connsiteX79" fmla="*/ 609600 w 2610544"/>
              <a:gd name="connsiteY79" fmla="*/ 2819400 h 3009900"/>
              <a:gd name="connsiteX80" fmla="*/ 466725 w 2610544"/>
              <a:gd name="connsiteY80" fmla="*/ 2724150 h 3009900"/>
              <a:gd name="connsiteX81" fmla="*/ 381000 w 2610544"/>
              <a:gd name="connsiteY81" fmla="*/ 2657475 h 3009900"/>
              <a:gd name="connsiteX82" fmla="*/ 304800 w 2610544"/>
              <a:gd name="connsiteY82" fmla="*/ 2552700 h 3009900"/>
              <a:gd name="connsiteX83" fmla="*/ 228600 w 2610544"/>
              <a:gd name="connsiteY83" fmla="*/ 2476500 h 3009900"/>
              <a:gd name="connsiteX84" fmla="*/ 161925 w 2610544"/>
              <a:gd name="connsiteY84" fmla="*/ 2409825 h 30099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</a:cxnLst>
            <a:rect l="l" t="t" r="r" b="b"/>
            <a:pathLst>
              <a:path w="2610544" h="3009900">
                <a:moveTo>
                  <a:pt x="161925" y="2409825"/>
                </a:moveTo>
                <a:cubicBezTo>
                  <a:pt x="142875" y="2389188"/>
                  <a:pt x="126603" y="2374205"/>
                  <a:pt x="114300" y="2352675"/>
                </a:cubicBezTo>
                <a:cubicBezTo>
                  <a:pt x="100841" y="2329122"/>
                  <a:pt x="96411" y="2301409"/>
                  <a:pt x="85725" y="2276475"/>
                </a:cubicBezTo>
                <a:cubicBezTo>
                  <a:pt x="77335" y="2256899"/>
                  <a:pt x="64870" y="2239175"/>
                  <a:pt x="57150" y="2219325"/>
                </a:cubicBezTo>
                <a:cubicBezTo>
                  <a:pt x="42594" y="2181895"/>
                  <a:pt x="19050" y="2105025"/>
                  <a:pt x="19050" y="2105025"/>
                </a:cubicBezTo>
                <a:cubicBezTo>
                  <a:pt x="12700" y="2063750"/>
                  <a:pt x="0" y="2022961"/>
                  <a:pt x="0" y="1981200"/>
                </a:cubicBezTo>
                <a:cubicBezTo>
                  <a:pt x="0" y="1888906"/>
                  <a:pt x="11385" y="1796950"/>
                  <a:pt x="19050" y="1704975"/>
                </a:cubicBezTo>
                <a:cubicBezTo>
                  <a:pt x="20914" y="1682602"/>
                  <a:pt x="22790" y="1659993"/>
                  <a:pt x="28575" y="1638300"/>
                </a:cubicBezTo>
                <a:cubicBezTo>
                  <a:pt x="35565" y="1612089"/>
                  <a:pt x="48981" y="1587968"/>
                  <a:pt x="57150" y="1562100"/>
                </a:cubicBezTo>
                <a:cubicBezTo>
                  <a:pt x="68051" y="1527580"/>
                  <a:pt x="73549" y="1491417"/>
                  <a:pt x="85725" y="1457325"/>
                </a:cubicBezTo>
                <a:cubicBezTo>
                  <a:pt x="127426" y="1340563"/>
                  <a:pt x="159117" y="1275712"/>
                  <a:pt x="219075" y="1171575"/>
                </a:cubicBezTo>
                <a:cubicBezTo>
                  <a:pt x="256025" y="1107399"/>
                  <a:pt x="284177" y="1036423"/>
                  <a:pt x="333375" y="981075"/>
                </a:cubicBezTo>
                <a:cubicBezTo>
                  <a:pt x="358775" y="952500"/>
                  <a:pt x="385552" y="925092"/>
                  <a:pt x="409575" y="895350"/>
                </a:cubicBezTo>
                <a:cubicBezTo>
                  <a:pt x="452269" y="842490"/>
                  <a:pt x="481201" y="776924"/>
                  <a:pt x="533400" y="733425"/>
                </a:cubicBezTo>
                <a:cubicBezTo>
                  <a:pt x="552450" y="717550"/>
                  <a:pt x="574532" y="704730"/>
                  <a:pt x="590550" y="685800"/>
                </a:cubicBezTo>
                <a:cubicBezTo>
                  <a:pt x="609898" y="662934"/>
                  <a:pt x="619287" y="632847"/>
                  <a:pt x="638175" y="609600"/>
                </a:cubicBezTo>
                <a:cubicBezTo>
                  <a:pt x="660827" y="581721"/>
                  <a:pt x="698311" y="565529"/>
                  <a:pt x="714375" y="533400"/>
                </a:cubicBezTo>
                <a:cubicBezTo>
                  <a:pt x="720725" y="520700"/>
                  <a:pt x="723385" y="505340"/>
                  <a:pt x="733425" y="495300"/>
                </a:cubicBezTo>
                <a:cubicBezTo>
                  <a:pt x="755876" y="472849"/>
                  <a:pt x="790575" y="463550"/>
                  <a:pt x="809625" y="438150"/>
                </a:cubicBezTo>
                <a:cubicBezTo>
                  <a:pt x="819150" y="425450"/>
                  <a:pt x="826400" y="410670"/>
                  <a:pt x="838200" y="400050"/>
                </a:cubicBezTo>
                <a:cubicBezTo>
                  <a:pt x="858501" y="381779"/>
                  <a:pt x="881833" y="367088"/>
                  <a:pt x="904875" y="352425"/>
                </a:cubicBezTo>
                <a:cubicBezTo>
                  <a:pt x="916854" y="344802"/>
                  <a:pt x="931887" y="342245"/>
                  <a:pt x="942975" y="333375"/>
                </a:cubicBezTo>
                <a:cubicBezTo>
                  <a:pt x="964012" y="316545"/>
                  <a:pt x="978572" y="292389"/>
                  <a:pt x="1000125" y="276225"/>
                </a:cubicBezTo>
                <a:cubicBezTo>
                  <a:pt x="1017164" y="263446"/>
                  <a:pt x="1039306" y="259085"/>
                  <a:pt x="1057275" y="247650"/>
                </a:cubicBezTo>
                <a:cubicBezTo>
                  <a:pt x="1186443" y="165452"/>
                  <a:pt x="1037508" y="243246"/>
                  <a:pt x="1143000" y="190500"/>
                </a:cubicBezTo>
                <a:cubicBezTo>
                  <a:pt x="1177958" y="138063"/>
                  <a:pt x="1141826" y="180569"/>
                  <a:pt x="1209675" y="142875"/>
                </a:cubicBezTo>
                <a:cubicBezTo>
                  <a:pt x="1249257" y="120885"/>
                  <a:pt x="1244436" y="113080"/>
                  <a:pt x="1276350" y="85725"/>
                </a:cubicBezTo>
                <a:cubicBezTo>
                  <a:pt x="1288403" y="75394"/>
                  <a:pt x="1300837" y="65318"/>
                  <a:pt x="1314450" y="57150"/>
                </a:cubicBezTo>
                <a:cubicBezTo>
                  <a:pt x="1332713" y="46192"/>
                  <a:pt x="1352902" y="38774"/>
                  <a:pt x="1371600" y="28575"/>
                </a:cubicBezTo>
                <a:cubicBezTo>
                  <a:pt x="1387853" y="19710"/>
                  <a:pt x="1403350" y="9525"/>
                  <a:pt x="1419225" y="0"/>
                </a:cubicBezTo>
                <a:cubicBezTo>
                  <a:pt x="1470025" y="3175"/>
                  <a:pt x="1521289" y="1975"/>
                  <a:pt x="1571625" y="9525"/>
                </a:cubicBezTo>
                <a:cubicBezTo>
                  <a:pt x="1585667" y="11631"/>
                  <a:pt x="1596750" y="22808"/>
                  <a:pt x="1609725" y="28575"/>
                </a:cubicBezTo>
                <a:cubicBezTo>
                  <a:pt x="1625349" y="35519"/>
                  <a:pt x="1642296" y="39519"/>
                  <a:pt x="1657350" y="47625"/>
                </a:cubicBezTo>
                <a:cubicBezTo>
                  <a:pt x="1660409" y="49272"/>
                  <a:pt x="1779375" y="123055"/>
                  <a:pt x="1790700" y="133350"/>
                </a:cubicBezTo>
                <a:cubicBezTo>
                  <a:pt x="1809049" y="150031"/>
                  <a:pt x="1820790" y="172965"/>
                  <a:pt x="1838325" y="190500"/>
                </a:cubicBezTo>
                <a:cubicBezTo>
                  <a:pt x="1849550" y="201725"/>
                  <a:pt x="1865200" y="207850"/>
                  <a:pt x="1876425" y="219075"/>
                </a:cubicBezTo>
                <a:cubicBezTo>
                  <a:pt x="1887650" y="230300"/>
                  <a:pt x="1894273" y="245473"/>
                  <a:pt x="1905000" y="257175"/>
                </a:cubicBezTo>
                <a:cubicBezTo>
                  <a:pt x="1969112" y="327115"/>
                  <a:pt x="1962766" y="319550"/>
                  <a:pt x="2019300" y="361950"/>
                </a:cubicBezTo>
                <a:cubicBezTo>
                  <a:pt x="2056808" y="436966"/>
                  <a:pt x="2016504" y="368679"/>
                  <a:pt x="2105025" y="457200"/>
                </a:cubicBezTo>
                <a:cubicBezTo>
                  <a:pt x="2119400" y="471575"/>
                  <a:pt x="2129525" y="489714"/>
                  <a:pt x="2143125" y="504825"/>
                </a:cubicBezTo>
                <a:cubicBezTo>
                  <a:pt x="2158144" y="521512"/>
                  <a:pt x="2176533" y="535074"/>
                  <a:pt x="2190750" y="552450"/>
                </a:cubicBezTo>
                <a:cubicBezTo>
                  <a:pt x="2205248" y="570170"/>
                  <a:pt x="2214891" y="591453"/>
                  <a:pt x="2228850" y="609600"/>
                </a:cubicBezTo>
                <a:cubicBezTo>
                  <a:pt x="2276834" y="671979"/>
                  <a:pt x="2324185" y="714460"/>
                  <a:pt x="2381250" y="771525"/>
                </a:cubicBezTo>
                <a:lnTo>
                  <a:pt x="2409825" y="800100"/>
                </a:lnTo>
                <a:cubicBezTo>
                  <a:pt x="2422525" y="812800"/>
                  <a:pt x="2437962" y="823256"/>
                  <a:pt x="2447925" y="838200"/>
                </a:cubicBezTo>
                <a:cubicBezTo>
                  <a:pt x="2454275" y="847725"/>
                  <a:pt x="2458880" y="858680"/>
                  <a:pt x="2466975" y="866775"/>
                </a:cubicBezTo>
                <a:cubicBezTo>
                  <a:pt x="2478200" y="878000"/>
                  <a:pt x="2492375" y="885825"/>
                  <a:pt x="2505075" y="895350"/>
                </a:cubicBezTo>
                <a:cubicBezTo>
                  <a:pt x="2568115" y="1000416"/>
                  <a:pt x="2541686" y="959792"/>
                  <a:pt x="2581275" y="1019175"/>
                </a:cubicBezTo>
                <a:cubicBezTo>
                  <a:pt x="2584450" y="1035050"/>
                  <a:pt x="2585680" y="1051441"/>
                  <a:pt x="2590800" y="1066800"/>
                </a:cubicBezTo>
                <a:cubicBezTo>
                  <a:pt x="2595290" y="1080270"/>
                  <a:pt x="2609205" y="1090716"/>
                  <a:pt x="2609850" y="1104900"/>
                </a:cubicBezTo>
                <a:cubicBezTo>
                  <a:pt x="2612449" y="1162079"/>
                  <a:pt x="2607425" y="1219554"/>
                  <a:pt x="2600325" y="1276350"/>
                </a:cubicBezTo>
                <a:cubicBezTo>
                  <a:pt x="2597834" y="1296275"/>
                  <a:pt x="2588137" y="1314629"/>
                  <a:pt x="2581275" y="1333500"/>
                </a:cubicBezTo>
                <a:cubicBezTo>
                  <a:pt x="2558416" y="1396362"/>
                  <a:pt x="2571413" y="1363814"/>
                  <a:pt x="2543175" y="1409700"/>
                </a:cubicBezTo>
                <a:cubicBezTo>
                  <a:pt x="2523769" y="1441234"/>
                  <a:pt x="2512207" y="1478768"/>
                  <a:pt x="2486025" y="1504950"/>
                </a:cubicBezTo>
                <a:cubicBezTo>
                  <a:pt x="2473325" y="1517650"/>
                  <a:pt x="2459298" y="1529149"/>
                  <a:pt x="2447925" y="1543050"/>
                </a:cubicBezTo>
                <a:cubicBezTo>
                  <a:pt x="2354667" y="1657033"/>
                  <a:pt x="2431948" y="1566709"/>
                  <a:pt x="2381250" y="1647825"/>
                </a:cubicBezTo>
                <a:cubicBezTo>
                  <a:pt x="2372836" y="1661287"/>
                  <a:pt x="2362200" y="1673225"/>
                  <a:pt x="2352675" y="1685925"/>
                </a:cubicBezTo>
                <a:cubicBezTo>
                  <a:pt x="2343533" y="1722493"/>
                  <a:pt x="2344854" y="1728919"/>
                  <a:pt x="2324100" y="1762125"/>
                </a:cubicBezTo>
                <a:cubicBezTo>
                  <a:pt x="2315686" y="1775587"/>
                  <a:pt x="2303175" y="1786315"/>
                  <a:pt x="2295525" y="1800225"/>
                </a:cubicBezTo>
                <a:cubicBezTo>
                  <a:pt x="2268154" y="1849991"/>
                  <a:pt x="2244725" y="1901825"/>
                  <a:pt x="2219325" y="1952625"/>
                </a:cubicBezTo>
                <a:cubicBezTo>
                  <a:pt x="2171851" y="2047574"/>
                  <a:pt x="2183032" y="2027477"/>
                  <a:pt x="2124075" y="2133600"/>
                </a:cubicBezTo>
                <a:cubicBezTo>
                  <a:pt x="2092785" y="2189922"/>
                  <a:pt x="2074237" y="2216219"/>
                  <a:pt x="2047875" y="2276475"/>
                </a:cubicBezTo>
                <a:cubicBezTo>
                  <a:pt x="2037002" y="2301328"/>
                  <a:pt x="2029734" y="2327634"/>
                  <a:pt x="2019300" y="2352675"/>
                </a:cubicBezTo>
                <a:cubicBezTo>
                  <a:pt x="2008327" y="2379010"/>
                  <a:pt x="1986229" y="2415530"/>
                  <a:pt x="1971675" y="2438400"/>
                </a:cubicBezTo>
                <a:cubicBezTo>
                  <a:pt x="1887636" y="2570461"/>
                  <a:pt x="1982599" y="2424222"/>
                  <a:pt x="1885950" y="2543175"/>
                </a:cubicBezTo>
                <a:cubicBezTo>
                  <a:pt x="1858718" y="2576691"/>
                  <a:pt x="1836365" y="2613942"/>
                  <a:pt x="1809750" y="2647950"/>
                </a:cubicBezTo>
                <a:cubicBezTo>
                  <a:pt x="1779184" y="2687006"/>
                  <a:pt x="1746028" y="2723966"/>
                  <a:pt x="1714500" y="2762250"/>
                </a:cubicBezTo>
                <a:cubicBezTo>
                  <a:pt x="1701576" y="2777943"/>
                  <a:pt x="1689100" y="2794000"/>
                  <a:pt x="1676400" y="2809875"/>
                </a:cubicBezTo>
                <a:cubicBezTo>
                  <a:pt x="1663700" y="2825750"/>
                  <a:pt x="1652675" y="2843125"/>
                  <a:pt x="1638300" y="2857500"/>
                </a:cubicBezTo>
                <a:cubicBezTo>
                  <a:pt x="1625600" y="2870200"/>
                  <a:pt x="1614377" y="2884573"/>
                  <a:pt x="1600200" y="2895600"/>
                </a:cubicBezTo>
                <a:cubicBezTo>
                  <a:pt x="1585587" y="2906966"/>
                  <a:pt x="1567188" y="2912809"/>
                  <a:pt x="1552575" y="2924175"/>
                </a:cubicBezTo>
                <a:cubicBezTo>
                  <a:pt x="1538398" y="2935202"/>
                  <a:pt x="1528652" y="2951248"/>
                  <a:pt x="1514475" y="2962275"/>
                </a:cubicBezTo>
                <a:cubicBezTo>
                  <a:pt x="1481500" y="2987922"/>
                  <a:pt x="1456969" y="2994802"/>
                  <a:pt x="1419225" y="3009900"/>
                </a:cubicBezTo>
                <a:cubicBezTo>
                  <a:pt x="1308100" y="2997200"/>
                  <a:pt x="1196673" y="2986912"/>
                  <a:pt x="1085850" y="2971800"/>
                </a:cubicBezTo>
                <a:cubicBezTo>
                  <a:pt x="1056846" y="2967845"/>
                  <a:pt x="1028952" y="2957837"/>
                  <a:pt x="1000125" y="2952750"/>
                </a:cubicBezTo>
                <a:cubicBezTo>
                  <a:pt x="974917" y="2948302"/>
                  <a:pt x="949325" y="2946400"/>
                  <a:pt x="923925" y="2943225"/>
                </a:cubicBezTo>
                <a:cubicBezTo>
                  <a:pt x="904875" y="2933700"/>
                  <a:pt x="886791" y="2921929"/>
                  <a:pt x="866775" y="2914650"/>
                </a:cubicBezTo>
                <a:cubicBezTo>
                  <a:pt x="816757" y="2896462"/>
                  <a:pt x="761979" y="2890827"/>
                  <a:pt x="714375" y="2867025"/>
                </a:cubicBezTo>
                <a:cubicBezTo>
                  <a:pt x="688975" y="2854325"/>
                  <a:pt x="664028" y="2840676"/>
                  <a:pt x="638175" y="2828925"/>
                </a:cubicBezTo>
                <a:cubicBezTo>
                  <a:pt x="629035" y="2824770"/>
                  <a:pt x="618580" y="2823890"/>
                  <a:pt x="609600" y="2819400"/>
                </a:cubicBezTo>
                <a:cubicBezTo>
                  <a:pt x="571087" y="2800143"/>
                  <a:pt x="488497" y="2740192"/>
                  <a:pt x="466725" y="2724150"/>
                </a:cubicBezTo>
                <a:cubicBezTo>
                  <a:pt x="437582" y="2702676"/>
                  <a:pt x="402292" y="2686752"/>
                  <a:pt x="381000" y="2657475"/>
                </a:cubicBezTo>
                <a:cubicBezTo>
                  <a:pt x="355600" y="2622550"/>
                  <a:pt x="335336" y="2583236"/>
                  <a:pt x="304800" y="2552700"/>
                </a:cubicBezTo>
                <a:cubicBezTo>
                  <a:pt x="279400" y="2527300"/>
                  <a:pt x="257337" y="2498053"/>
                  <a:pt x="228600" y="2476500"/>
                </a:cubicBezTo>
                <a:cubicBezTo>
                  <a:pt x="146720" y="2415090"/>
                  <a:pt x="180975" y="2430462"/>
                  <a:pt x="161925" y="2409825"/>
                </a:cubicBezTo>
                <a:close/>
              </a:path>
            </a:pathLst>
          </a:cu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Freihandform: Form 6">
            <a:extLst>
              <a:ext uri="{FF2B5EF4-FFF2-40B4-BE49-F238E27FC236}">
                <a16:creationId xmlns:a16="http://schemas.microsoft.com/office/drawing/2014/main" id="{4C8B816E-CF31-5C2A-A8D0-0EC15CF3C9FC}"/>
              </a:ext>
            </a:extLst>
          </p:cNvPr>
          <p:cNvSpPr/>
          <p:nvPr/>
        </p:nvSpPr>
        <p:spPr>
          <a:xfrm>
            <a:off x="1342491" y="8258175"/>
            <a:ext cx="2505609" cy="3505200"/>
          </a:xfrm>
          <a:custGeom>
            <a:avLst/>
            <a:gdLst>
              <a:gd name="connsiteX0" fmla="*/ 162459 w 2505609"/>
              <a:gd name="connsiteY0" fmla="*/ 3219450 h 3505200"/>
              <a:gd name="connsiteX1" fmla="*/ 257709 w 2505609"/>
              <a:gd name="connsiteY1" fmla="*/ 3276600 h 3505200"/>
              <a:gd name="connsiteX2" fmla="*/ 333909 w 2505609"/>
              <a:gd name="connsiteY2" fmla="*/ 3305175 h 3505200"/>
              <a:gd name="connsiteX3" fmla="*/ 410109 w 2505609"/>
              <a:gd name="connsiteY3" fmla="*/ 3352800 h 3505200"/>
              <a:gd name="connsiteX4" fmla="*/ 762534 w 2505609"/>
              <a:gd name="connsiteY4" fmla="*/ 3467100 h 3505200"/>
              <a:gd name="connsiteX5" fmla="*/ 819684 w 2505609"/>
              <a:gd name="connsiteY5" fmla="*/ 3486150 h 3505200"/>
              <a:gd name="connsiteX6" fmla="*/ 981609 w 2505609"/>
              <a:gd name="connsiteY6" fmla="*/ 3505200 h 3505200"/>
              <a:gd name="connsiteX7" fmla="*/ 1438809 w 2505609"/>
              <a:gd name="connsiteY7" fmla="*/ 3495675 h 3505200"/>
              <a:gd name="connsiteX8" fmla="*/ 1515009 w 2505609"/>
              <a:gd name="connsiteY8" fmla="*/ 3467100 h 3505200"/>
              <a:gd name="connsiteX9" fmla="*/ 1572159 w 2505609"/>
              <a:gd name="connsiteY9" fmla="*/ 3457575 h 3505200"/>
              <a:gd name="connsiteX10" fmla="*/ 1715034 w 2505609"/>
              <a:gd name="connsiteY10" fmla="*/ 3390900 h 3505200"/>
              <a:gd name="connsiteX11" fmla="*/ 1762659 w 2505609"/>
              <a:gd name="connsiteY11" fmla="*/ 3362325 h 3505200"/>
              <a:gd name="connsiteX12" fmla="*/ 1810284 w 2505609"/>
              <a:gd name="connsiteY12" fmla="*/ 3314700 h 3505200"/>
              <a:gd name="connsiteX13" fmla="*/ 1915059 w 2505609"/>
              <a:gd name="connsiteY13" fmla="*/ 3181350 h 3505200"/>
              <a:gd name="connsiteX14" fmla="*/ 1972209 w 2505609"/>
              <a:gd name="connsiteY14" fmla="*/ 3086100 h 3505200"/>
              <a:gd name="connsiteX15" fmla="*/ 2076984 w 2505609"/>
              <a:gd name="connsiteY15" fmla="*/ 2914650 h 3505200"/>
              <a:gd name="connsiteX16" fmla="*/ 2134134 w 2505609"/>
              <a:gd name="connsiteY16" fmla="*/ 2743200 h 3505200"/>
              <a:gd name="connsiteX17" fmla="*/ 2162709 w 2505609"/>
              <a:gd name="connsiteY17" fmla="*/ 2628900 h 3505200"/>
              <a:gd name="connsiteX18" fmla="*/ 2181759 w 2505609"/>
              <a:gd name="connsiteY18" fmla="*/ 2486025 h 3505200"/>
              <a:gd name="connsiteX19" fmla="*/ 2200809 w 2505609"/>
              <a:gd name="connsiteY19" fmla="*/ 2381250 h 3505200"/>
              <a:gd name="connsiteX20" fmla="*/ 2210334 w 2505609"/>
              <a:gd name="connsiteY20" fmla="*/ 2152650 h 3505200"/>
              <a:gd name="connsiteX21" fmla="*/ 2248434 w 2505609"/>
              <a:gd name="connsiteY21" fmla="*/ 1905000 h 3505200"/>
              <a:gd name="connsiteX22" fmla="*/ 2267484 w 2505609"/>
              <a:gd name="connsiteY22" fmla="*/ 1838325 h 3505200"/>
              <a:gd name="connsiteX23" fmla="*/ 2286534 w 2505609"/>
              <a:gd name="connsiteY23" fmla="*/ 1762125 h 3505200"/>
              <a:gd name="connsiteX24" fmla="*/ 2381784 w 2505609"/>
              <a:gd name="connsiteY24" fmla="*/ 1524000 h 3505200"/>
              <a:gd name="connsiteX25" fmla="*/ 2429409 w 2505609"/>
              <a:gd name="connsiteY25" fmla="*/ 1400175 h 3505200"/>
              <a:gd name="connsiteX26" fmla="*/ 2457984 w 2505609"/>
              <a:gd name="connsiteY26" fmla="*/ 1285875 h 3505200"/>
              <a:gd name="connsiteX27" fmla="*/ 2467509 w 2505609"/>
              <a:gd name="connsiteY27" fmla="*/ 1247775 h 3505200"/>
              <a:gd name="connsiteX28" fmla="*/ 2486559 w 2505609"/>
              <a:gd name="connsiteY28" fmla="*/ 1200150 h 3505200"/>
              <a:gd name="connsiteX29" fmla="*/ 2505609 w 2505609"/>
              <a:gd name="connsiteY29" fmla="*/ 1095375 h 3505200"/>
              <a:gd name="connsiteX30" fmla="*/ 2496084 w 2505609"/>
              <a:gd name="connsiteY30" fmla="*/ 866775 h 3505200"/>
              <a:gd name="connsiteX31" fmla="*/ 2477034 w 2505609"/>
              <a:gd name="connsiteY31" fmla="*/ 838200 h 3505200"/>
              <a:gd name="connsiteX32" fmla="*/ 2438934 w 2505609"/>
              <a:gd name="connsiteY32" fmla="*/ 752475 h 3505200"/>
              <a:gd name="connsiteX33" fmla="*/ 2391309 w 2505609"/>
              <a:gd name="connsiteY33" fmla="*/ 628650 h 3505200"/>
              <a:gd name="connsiteX34" fmla="*/ 2315109 w 2505609"/>
              <a:gd name="connsiteY34" fmla="*/ 523875 h 3505200"/>
              <a:gd name="connsiteX35" fmla="*/ 2286534 w 2505609"/>
              <a:gd name="connsiteY35" fmla="*/ 466725 h 3505200"/>
              <a:gd name="connsiteX36" fmla="*/ 2248434 w 2505609"/>
              <a:gd name="connsiteY36" fmla="*/ 428625 h 3505200"/>
              <a:gd name="connsiteX37" fmla="*/ 2210334 w 2505609"/>
              <a:gd name="connsiteY37" fmla="*/ 381000 h 3505200"/>
              <a:gd name="connsiteX38" fmla="*/ 2153184 w 2505609"/>
              <a:gd name="connsiteY38" fmla="*/ 323850 h 3505200"/>
              <a:gd name="connsiteX39" fmla="*/ 2124609 w 2505609"/>
              <a:gd name="connsiteY39" fmla="*/ 285750 h 3505200"/>
              <a:gd name="connsiteX40" fmla="*/ 2076984 w 2505609"/>
              <a:gd name="connsiteY40" fmla="*/ 247650 h 3505200"/>
              <a:gd name="connsiteX41" fmla="*/ 2038884 w 2505609"/>
              <a:gd name="connsiteY41" fmla="*/ 209550 h 3505200"/>
              <a:gd name="connsiteX42" fmla="*/ 1953159 w 2505609"/>
              <a:gd name="connsiteY42" fmla="*/ 152400 h 3505200"/>
              <a:gd name="connsiteX43" fmla="*/ 1781709 w 2505609"/>
              <a:gd name="connsiteY43" fmla="*/ 57150 h 3505200"/>
              <a:gd name="connsiteX44" fmla="*/ 1724559 w 2505609"/>
              <a:gd name="connsiteY44" fmla="*/ 38100 h 3505200"/>
              <a:gd name="connsiteX45" fmla="*/ 1676934 w 2505609"/>
              <a:gd name="connsiteY45" fmla="*/ 19050 h 3505200"/>
              <a:gd name="connsiteX46" fmla="*/ 1629309 w 2505609"/>
              <a:gd name="connsiteY46" fmla="*/ 9525 h 3505200"/>
              <a:gd name="connsiteX47" fmla="*/ 1591209 w 2505609"/>
              <a:gd name="connsiteY47" fmla="*/ 0 h 3505200"/>
              <a:gd name="connsiteX48" fmla="*/ 1486434 w 2505609"/>
              <a:gd name="connsiteY48" fmla="*/ 9525 h 3505200"/>
              <a:gd name="connsiteX49" fmla="*/ 1448334 w 2505609"/>
              <a:gd name="connsiteY49" fmla="*/ 38100 h 3505200"/>
              <a:gd name="connsiteX50" fmla="*/ 1410234 w 2505609"/>
              <a:gd name="connsiteY50" fmla="*/ 57150 h 3505200"/>
              <a:gd name="connsiteX51" fmla="*/ 1343559 w 2505609"/>
              <a:gd name="connsiteY51" fmla="*/ 95250 h 3505200"/>
              <a:gd name="connsiteX52" fmla="*/ 1248309 w 2505609"/>
              <a:gd name="connsiteY52" fmla="*/ 238125 h 3505200"/>
              <a:gd name="connsiteX53" fmla="*/ 1191159 w 2505609"/>
              <a:gd name="connsiteY53" fmla="*/ 304800 h 3505200"/>
              <a:gd name="connsiteX54" fmla="*/ 1162584 w 2505609"/>
              <a:gd name="connsiteY54" fmla="*/ 314325 h 3505200"/>
              <a:gd name="connsiteX55" fmla="*/ 1114959 w 2505609"/>
              <a:gd name="connsiteY55" fmla="*/ 352425 h 3505200"/>
              <a:gd name="connsiteX56" fmla="*/ 1105434 w 2505609"/>
              <a:gd name="connsiteY56" fmla="*/ 381000 h 3505200"/>
              <a:gd name="connsiteX57" fmla="*/ 1076859 w 2505609"/>
              <a:gd name="connsiteY57" fmla="*/ 400050 h 3505200"/>
              <a:gd name="connsiteX58" fmla="*/ 1029234 w 2505609"/>
              <a:gd name="connsiteY58" fmla="*/ 447675 h 3505200"/>
              <a:gd name="connsiteX59" fmla="*/ 972084 w 2505609"/>
              <a:gd name="connsiteY59" fmla="*/ 514350 h 3505200"/>
              <a:gd name="connsiteX60" fmla="*/ 886359 w 2505609"/>
              <a:gd name="connsiteY60" fmla="*/ 571500 h 3505200"/>
              <a:gd name="connsiteX61" fmla="*/ 848259 w 2505609"/>
              <a:gd name="connsiteY61" fmla="*/ 600075 h 3505200"/>
              <a:gd name="connsiteX62" fmla="*/ 772059 w 2505609"/>
              <a:gd name="connsiteY62" fmla="*/ 666750 h 3505200"/>
              <a:gd name="connsiteX63" fmla="*/ 705384 w 2505609"/>
              <a:gd name="connsiteY63" fmla="*/ 742950 h 3505200"/>
              <a:gd name="connsiteX64" fmla="*/ 667284 w 2505609"/>
              <a:gd name="connsiteY64" fmla="*/ 771525 h 3505200"/>
              <a:gd name="connsiteX65" fmla="*/ 629184 w 2505609"/>
              <a:gd name="connsiteY65" fmla="*/ 828675 h 3505200"/>
              <a:gd name="connsiteX66" fmla="*/ 438684 w 2505609"/>
              <a:gd name="connsiteY66" fmla="*/ 1085850 h 3505200"/>
              <a:gd name="connsiteX67" fmla="*/ 381534 w 2505609"/>
              <a:gd name="connsiteY67" fmla="*/ 1190625 h 3505200"/>
              <a:gd name="connsiteX68" fmla="*/ 343434 w 2505609"/>
              <a:gd name="connsiteY68" fmla="*/ 1247775 h 3505200"/>
              <a:gd name="connsiteX69" fmla="*/ 238659 w 2505609"/>
              <a:gd name="connsiteY69" fmla="*/ 1466850 h 3505200"/>
              <a:gd name="connsiteX70" fmla="*/ 181509 w 2505609"/>
              <a:gd name="connsiteY70" fmla="*/ 1619250 h 3505200"/>
              <a:gd name="connsiteX71" fmla="*/ 162459 w 2505609"/>
              <a:gd name="connsiteY71" fmla="*/ 1685925 h 3505200"/>
              <a:gd name="connsiteX72" fmla="*/ 133884 w 2505609"/>
              <a:gd name="connsiteY72" fmla="*/ 1752600 h 3505200"/>
              <a:gd name="connsiteX73" fmla="*/ 105309 w 2505609"/>
              <a:gd name="connsiteY73" fmla="*/ 1885950 h 3505200"/>
              <a:gd name="connsiteX74" fmla="*/ 86259 w 2505609"/>
              <a:gd name="connsiteY74" fmla="*/ 1962150 h 3505200"/>
              <a:gd name="connsiteX75" fmla="*/ 67209 w 2505609"/>
              <a:gd name="connsiteY75" fmla="*/ 2124075 h 3505200"/>
              <a:gd name="connsiteX76" fmla="*/ 48159 w 2505609"/>
              <a:gd name="connsiteY76" fmla="*/ 2247900 h 3505200"/>
              <a:gd name="connsiteX77" fmla="*/ 29109 w 2505609"/>
              <a:gd name="connsiteY77" fmla="*/ 2390775 h 3505200"/>
              <a:gd name="connsiteX78" fmla="*/ 10059 w 2505609"/>
              <a:gd name="connsiteY78" fmla="*/ 2514600 h 3505200"/>
              <a:gd name="connsiteX79" fmla="*/ 19584 w 2505609"/>
              <a:gd name="connsiteY79" fmla="*/ 3057525 h 3505200"/>
              <a:gd name="connsiteX80" fmla="*/ 38634 w 2505609"/>
              <a:gd name="connsiteY80" fmla="*/ 3143250 h 3505200"/>
              <a:gd name="connsiteX81" fmla="*/ 105309 w 2505609"/>
              <a:gd name="connsiteY81" fmla="*/ 3181350 h 3505200"/>
              <a:gd name="connsiteX82" fmla="*/ 133884 w 2505609"/>
              <a:gd name="connsiteY82" fmla="*/ 3209925 h 3505200"/>
              <a:gd name="connsiteX83" fmla="*/ 162459 w 2505609"/>
              <a:gd name="connsiteY83" fmla="*/ 3219450 h 3505200"/>
              <a:gd name="connsiteX84" fmla="*/ 162459 w 2505609"/>
              <a:gd name="connsiteY84" fmla="*/ 3219450 h 3505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</a:cxnLst>
            <a:rect l="l" t="t" r="r" b="b"/>
            <a:pathLst>
              <a:path w="2505609" h="3505200">
                <a:moveTo>
                  <a:pt x="162459" y="3219450"/>
                </a:moveTo>
                <a:cubicBezTo>
                  <a:pt x="178334" y="3228975"/>
                  <a:pt x="81555" y="3181748"/>
                  <a:pt x="257709" y="3276600"/>
                </a:cubicBezTo>
                <a:cubicBezTo>
                  <a:pt x="281594" y="3289461"/>
                  <a:pt x="309646" y="3293043"/>
                  <a:pt x="333909" y="3305175"/>
                </a:cubicBezTo>
                <a:cubicBezTo>
                  <a:pt x="360700" y="3318570"/>
                  <a:pt x="382412" y="3341395"/>
                  <a:pt x="410109" y="3352800"/>
                </a:cubicBezTo>
                <a:cubicBezTo>
                  <a:pt x="617724" y="3438288"/>
                  <a:pt x="604248" y="3420545"/>
                  <a:pt x="762534" y="3467100"/>
                </a:cubicBezTo>
                <a:cubicBezTo>
                  <a:pt x="781799" y="3472766"/>
                  <a:pt x="800049" y="3481943"/>
                  <a:pt x="819684" y="3486150"/>
                </a:cubicBezTo>
                <a:cubicBezTo>
                  <a:pt x="833782" y="3489171"/>
                  <a:pt x="972238" y="3504159"/>
                  <a:pt x="981609" y="3505200"/>
                </a:cubicBezTo>
                <a:cubicBezTo>
                  <a:pt x="1134009" y="3502025"/>
                  <a:pt x="1286763" y="3506535"/>
                  <a:pt x="1438809" y="3495675"/>
                </a:cubicBezTo>
                <a:cubicBezTo>
                  <a:pt x="1465867" y="3493742"/>
                  <a:pt x="1488926" y="3474552"/>
                  <a:pt x="1515009" y="3467100"/>
                </a:cubicBezTo>
                <a:cubicBezTo>
                  <a:pt x="1533579" y="3461794"/>
                  <a:pt x="1553109" y="3460750"/>
                  <a:pt x="1572159" y="3457575"/>
                </a:cubicBezTo>
                <a:cubicBezTo>
                  <a:pt x="1621110" y="3435819"/>
                  <a:pt x="1668219" y="3416436"/>
                  <a:pt x="1715034" y="3390900"/>
                </a:cubicBezTo>
                <a:cubicBezTo>
                  <a:pt x="1731287" y="3382035"/>
                  <a:pt x="1748203" y="3373890"/>
                  <a:pt x="1762659" y="3362325"/>
                </a:cubicBezTo>
                <a:cubicBezTo>
                  <a:pt x="1780190" y="3348300"/>
                  <a:pt x="1795114" y="3331250"/>
                  <a:pt x="1810284" y="3314700"/>
                </a:cubicBezTo>
                <a:cubicBezTo>
                  <a:pt x="1850553" y="3270771"/>
                  <a:pt x="1882756" y="3231273"/>
                  <a:pt x="1915059" y="3181350"/>
                </a:cubicBezTo>
                <a:cubicBezTo>
                  <a:pt x="1935174" y="3150264"/>
                  <a:pt x="1951670" y="3116908"/>
                  <a:pt x="1972209" y="3086100"/>
                </a:cubicBezTo>
                <a:cubicBezTo>
                  <a:pt x="2049658" y="2969926"/>
                  <a:pt x="2016277" y="3051240"/>
                  <a:pt x="2076984" y="2914650"/>
                </a:cubicBezTo>
                <a:cubicBezTo>
                  <a:pt x="2098367" y="2866538"/>
                  <a:pt x="2120774" y="2792185"/>
                  <a:pt x="2134134" y="2743200"/>
                </a:cubicBezTo>
                <a:cubicBezTo>
                  <a:pt x="2144467" y="2705311"/>
                  <a:pt x="2155558" y="2667516"/>
                  <a:pt x="2162709" y="2628900"/>
                </a:cubicBezTo>
                <a:cubicBezTo>
                  <a:pt x="2171458" y="2581657"/>
                  <a:pt x="2174453" y="2533513"/>
                  <a:pt x="2181759" y="2486025"/>
                </a:cubicBezTo>
                <a:cubicBezTo>
                  <a:pt x="2187157" y="2450940"/>
                  <a:pt x="2194459" y="2416175"/>
                  <a:pt x="2200809" y="2381250"/>
                </a:cubicBezTo>
                <a:cubicBezTo>
                  <a:pt x="2203984" y="2305050"/>
                  <a:pt x="2204630" y="2228703"/>
                  <a:pt x="2210334" y="2152650"/>
                </a:cubicBezTo>
                <a:cubicBezTo>
                  <a:pt x="2213873" y="2105458"/>
                  <a:pt x="2231694" y="1963592"/>
                  <a:pt x="2248434" y="1905000"/>
                </a:cubicBezTo>
                <a:cubicBezTo>
                  <a:pt x="2254784" y="1882775"/>
                  <a:pt x="2261528" y="1860659"/>
                  <a:pt x="2267484" y="1838325"/>
                </a:cubicBezTo>
                <a:cubicBezTo>
                  <a:pt x="2274230" y="1813027"/>
                  <a:pt x="2278255" y="1786963"/>
                  <a:pt x="2286534" y="1762125"/>
                </a:cubicBezTo>
                <a:cubicBezTo>
                  <a:pt x="2416953" y="1370867"/>
                  <a:pt x="2285748" y="1780096"/>
                  <a:pt x="2381784" y="1524000"/>
                </a:cubicBezTo>
                <a:cubicBezTo>
                  <a:pt x="2437812" y="1374593"/>
                  <a:pt x="2361816" y="1535362"/>
                  <a:pt x="2429409" y="1400175"/>
                </a:cubicBezTo>
                <a:cubicBezTo>
                  <a:pt x="2445260" y="1305071"/>
                  <a:pt x="2429682" y="1380215"/>
                  <a:pt x="2457984" y="1285875"/>
                </a:cubicBezTo>
                <a:cubicBezTo>
                  <a:pt x="2461746" y="1273336"/>
                  <a:pt x="2463369" y="1260194"/>
                  <a:pt x="2467509" y="1247775"/>
                </a:cubicBezTo>
                <a:cubicBezTo>
                  <a:pt x="2472916" y="1231555"/>
                  <a:pt x="2481152" y="1216370"/>
                  <a:pt x="2486559" y="1200150"/>
                </a:cubicBezTo>
                <a:cubicBezTo>
                  <a:pt x="2497787" y="1166467"/>
                  <a:pt x="2500651" y="1130081"/>
                  <a:pt x="2505609" y="1095375"/>
                </a:cubicBezTo>
                <a:cubicBezTo>
                  <a:pt x="2502434" y="1019175"/>
                  <a:pt x="2504506" y="942575"/>
                  <a:pt x="2496084" y="866775"/>
                </a:cubicBezTo>
                <a:cubicBezTo>
                  <a:pt x="2494820" y="855397"/>
                  <a:pt x="2481054" y="848919"/>
                  <a:pt x="2477034" y="838200"/>
                </a:cubicBezTo>
                <a:cubicBezTo>
                  <a:pt x="2442279" y="745519"/>
                  <a:pt x="2498910" y="832443"/>
                  <a:pt x="2438934" y="752475"/>
                </a:cubicBezTo>
                <a:cubicBezTo>
                  <a:pt x="2420790" y="688969"/>
                  <a:pt x="2423995" y="684683"/>
                  <a:pt x="2391309" y="628650"/>
                </a:cubicBezTo>
                <a:cubicBezTo>
                  <a:pt x="2283214" y="443344"/>
                  <a:pt x="2419651" y="688155"/>
                  <a:pt x="2315109" y="523875"/>
                </a:cubicBezTo>
                <a:cubicBezTo>
                  <a:pt x="2303674" y="505906"/>
                  <a:pt x="2298748" y="484173"/>
                  <a:pt x="2286534" y="466725"/>
                </a:cubicBezTo>
                <a:cubicBezTo>
                  <a:pt x="2276234" y="452011"/>
                  <a:pt x="2260366" y="442049"/>
                  <a:pt x="2248434" y="428625"/>
                </a:cubicBezTo>
                <a:cubicBezTo>
                  <a:pt x="2234928" y="413430"/>
                  <a:pt x="2224009" y="396043"/>
                  <a:pt x="2210334" y="381000"/>
                </a:cubicBezTo>
                <a:cubicBezTo>
                  <a:pt x="2192212" y="361065"/>
                  <a:pt x="2171206" y="343875"/>
                  <a:pt x="2153184" y="323850"/>
                </a:cubicBezTo>
                <a:cubicBezTo>
                  <a:pt x="2142564" y="312050"/>
                  <a:pt x="2135834" y="296975"/>
                  <a:pt x="2124609" y="285750"/>
                </a:cubicBezTo>
                <a:cubicBezTo>
                  <a:pt x="2110234" y="271375"/>
                  <a:pt x="2092179" y="261156"/>
                  <a:pt x="2076984" y="247650"/>
                </a:cubicBezTo>
                <a:cubicBezTo>
                  <a:pt x="2063560" y="235718"/>
                  <a:pt x="2052401" y="221377"/>
                  <a:pt x="2038884" y="209550"/>
                </a:cubicBezTo>
                <a:cubicBezTo>
                  <a:pt x="2005687" y="180502"/>
                  <a:pt x="1991407" y="176740"/>
                  <a:pt x="1953159" y="152400"/>
                </a:cubicBezTo>
                <a:cubicBezTo>
                  <a:pt x="1891149" y="112939"/>
                  <a:pt x="1859586" y="83109"/>
                  <a:pt x="1781709" y="57150"/>
                </a:cubicBezTo>
                <a:cubicBezTo>
                  <a:pt x="1762659" y="50800"/>
                  <a:pt x="1743430" y="44962"/>
                  <a:pt x="1724559" y="38100"/>
                </a:cubicBezTo>
                <a:cubicBezTo>
                  <a:pt x="1708491" y="32257"/>
                  <a:pt x="1693311" y="23963"/>
                  <a:pt x="1676934" y="19050"/>
                </a:cubicBezTo>
                <a:cubicBezTo>
                  <a:pt x="1661427" y="14398"/>
                  <a:pt x="1645113" y="13037"/>
                  <a:pt x="1629309" y="9525"/>
                </a:cubicBezTo>
                <a:cubicBezTo>
                  <a:pt x="1616530" y="6685"/>
                  <a:pt x="1603909" y="3175"/>
                  <a:pt x="1591209" y="0"/>
                </a:cubicBezTo>
                <a:cubicBezTo>
                  <a:pt x="1556284" y="3175"/>
                  <a:pt x="1520319" y="489"/>
                  <a:pt x="1486434" y="9525"/>
                </a:cubicBezTo>
                <a:cubicBezTo>
                  <a:pt x="1471095" y="13615"/>
                  <a:pt x="1461796" y="29686"/>
                  <a:pt x="1448334" y="38100"/>
                </a:cubicBezTo>
                <a:cubicBezTo>
                  <a:pt x="1436293" y="45625"/>
                  <a:pt x="1422275" y="49625"/>
                  <a:pt x="1410234" y="57150"/>
                </a:cubicBezTo>
                <a:cubicBezTo>
                  <a:pt x="1344331" y="98339"/>
                  <a:pt x="1399699" y="76537"/>
                  <a:pt x="1343559" y="95250"/>
                </a:cubicBezTo>
                <a:cubicBezTo>
                  <a:pt x="1304038" y="174292"/>
                  <a:pt x="1336383" y="114821"/>
                  <a:pt x="1248309" y="238125"/>
                </a:cubicBezTo>
                <a:cubicBezTo>
                  <a:pt x="1227333" y="267491"/>
                  <a:pt x="1224744" y="280811"/>
                  <a:pt x="1191159" y="304800"/>
                </a:cubicBezTo>
                <a:cubicBezTo>
                  <a:pt x="1182989" y="310636"/>
                  <a:pt x="1172109" y="311150"/>
                  <a:pt x="1162584" y="314325"/>
                </a:cubicBezTo>
                <a:cubicBezTo>
                  <a:pt x="1078014" y="441180"/>
                  <a:pt x="1206974" y="260410"/>
                  <a:pt x="1114959" y="352425"/>
                </a:cubicBezTo>
                <a:cubicBezTo>
                  <a:pt x="1107859" y="359525"/>
                  <a:pt x="1111706" y="373160"/>
                  <a:pt x="1105434" y="381000"/>
                </a:cubicBezTo>
                <a:cubicBezTo>
                  <a:pt x="1098283" y="389939"/>
                  <a:pt x="1085474" y="392512"/>
                  <a:pt x="1076859" y="400050"/>
                </a:cubicBezTo>
                <a:cubicBezTo>
                  <a:pt x="1059963" y="414834"/>
                  <a:pt x="1044018" y="430779"/>
                  <a:pt x="1029234" y="447675"/>
                </a:cubicBezTo>
                <a:cubicBezTo>
                  <a:pt x="975278" y="509339"/>
                  <a:pt x="1057413" y="439687"/>
                  <a:pt x="972084" y="514350"/>
                </a:cubicBezTo>
                <a:cubicBezTo>
                  <a:pt x="934116" y="547572"/>
                  <a:pt x="930170" y="542292"/>
                  <a:pt x="886359" y="571500"/>
                </a:cubicBezTo>
                <a:cubicBezTo>
                  <a:pt x="873150" y="580306"/>
                  <a:pt x="860455" y="589912"/>
                  <a:pt x="848259" y="600075"/>
                </a:cubicBezTo>
                <a:cubicBezTo>
                  <a:pt x="822331" y="621682"/>
                  <a:pt x="795924" y="642885"/>
                  <a:pt x="772059" y="666750"/>
                </a:cubicBezTo>
                <a:cubicBezTo>
                  <a:pt x="671369" y="767440"/>
                  <a:pt x="824106" y="639068"/>
                  <a:pt x="705384" y="742950"/>
                </a:cubicBezTo>
                <a:cubicBezTo>
                  <a:pt x="693437" y="753404"/>
                  <a:pt x="677831" y="759660"/>
                  <a:pt x="667284" y="771525"/>
                </a:cubicBezTo>
                <a:cubicBezTo>
                  <a:pt x="652073" y="788637"/>
                  <a:pt x="642793" y="810263"/>
                  <a:pt x="629184" y="828675"/>
                </a:cubicBezTo>
                <a:cubicBezTo>
                  <a:pt x="623990" y="835702"/>
                  <a:pt x="463233" y="1040844"/>
                  <a:pt x="438684" y="1085850"/>
                </a:cubicBezTo>
                <a:cubicBezTo>
                  <a:pt x="419634" y="1120775"/>
                  <a:pt x="401705" y="1156335"/>
                  <a:pt x="381534" y="1190625"/>
                </a:cubicBezTo>
                <a:cubicBezTo>
                  <a:pt x="369926" y="1210359"/>
                  <a:pt x="354468" y="1227714"/>
                  <a:pt x="343434" y="1247775"/>
                </a:cubicBezTo>
                <a:cubicBezTo>
                  <a:pt x="318248" y="1293569"/>
                  <a:pt x="262038" y="1408403"/>
                  <a:pt x="238659" y="1466850"/>
                </a:cubicBezTo>
                <a:cubicBezTo>
                  <a:pt x="218509" y="1517224"/>
                  <a:pt x="196414" y="1567083"/>
                  <a:pt x="181509" y="1619250"/>
                </a:cubicBezTo>
                <a:cubicBezTo>
                  <a:pt x="175159" y="1641475"/>
                  <a:pt x="170233" y="1664157"/>
                  <a:pt x="162459" y="1685925"/>
                </a:cubicBezTo>
                <a:cubicBezTo>
                  <a:pt x="154326" y="1708696"/>
                  <a:pt x="142017" y="1729829"/>
                  <a:pt x="133884" y="1752600"/>
                </a:cubicBezTo>
                <a:cubicBezTo>
                  <a:pt x="104716" y="1834272"/>
                  <a:pt x="121940" y="1802794"/>
                  <a:pt x="105309" y="1885950"/>
                </a:cubicBezTo>
                <a:cubicBezTo>
                  <a:pt x="100174" y="1911623"/>
                  <a:pt x="92609" y="1936750"/>
                  <a:pt x="86259" y="1962150"/>
                </a:cubicBezTo>
                <a:cubicBezTo>
                  <a:pt x="81259" y="2007149"/>
                  <a:pt x="73755" y="2078256"/>
                  <a:pt x="67209" y="2124075"/>
                </a:cubicBezTo>
                <a:cubicBezTo>
                  <a:pt x="61303" y="2165416"/>
                  <a:pt x="54065" y="2206559"/>
                  <a:pt x="48159" y="2247900"/>
                </a:cubicBezTo>
                <a:cubicBezTo>
                  <a:pt x="38527" y="2315322"/>
                  <a:pt x="39905" y="2325997"/>
                  <a:pt x="29109" y="2390775"/>
                </a:cubicBezTo>
                <a:cubicBezTo>
                  <a:pt x="7291" y="2521681"/>
                  <a:pt x="33091" y="2330344"/>
                  <a:pt x="10059" y="2514600"/>
                </a:cubicBezTo>
                <a:cubicBezTo>
                  <a:pt x="-3867" y="2793110"/>
                  <a:pt x="-5626" y="2696181"/>
                  <a:pt x="19584" y="3057525"/>
                </a:cubicBezTo>
                <a:cubicBezTo>
                  <a:pt x="19619" y="3058032"/>
                  <a:pt x="28793" y="3130949"/>
                  <a:pt x="38634" y="3143250"/>
                </a:cubicBezTo>
                <a:cubicBezTo>
                  <a:pt x="50633" y="3158248"/>
                  <a:pt x="92184" y="3171975"/>
                  <a:pt x="105309" y="3181350"/>
                </a:cubicBezTo>
                <a:cubicBezTo>
                  <a:pt x="116270" y="3189180"/>
                  <a:pt x="122676" y="3202453"/>
                  <a:pt x="133884" y="3209925"/>
                </a:cubicBezTo>
                <a:cubicBezTo>
                  <a:pt x="142238" y="3215494"/>
                  <a:pt x="153137" y="3215721"/>
                  <a:pt x="162459" y="3219450"/>
                </a:cubicBezTo>
                <a:lnTo>
                  <a:pt x="162459" y="3219450"/>
                </a:lnTo>
                <a:close/>
              </a:path>
            </a:pathLst>
          </a:cu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Freihandform: Form 18">
            <a:extLst>
              <a:ext uri="{FF2B5EF4-FFF2-40B4-BE49-F238E27FC236}">
                <a16:creationId xmlns:a16="http://schemas.microsoft.com/office/drawing/2014/main" id="{38E8D9F7-AF85-3213-12E7-65EF9DC675BD}"/>
              </a:ext>
            </a:extLst>
          </p:cNvPr>
          <p:cNvSpPr/>
          <p:nvPr/>
        </p:nvSpPr>
        <p:spPr>
          <a:xfrm>
            <a:off x="3041138" y="10039350"/>
            <a:ext cx="2816774" cy="3333750"/>
          </a:xfrm>
          <a:custGeom>
            <a:avLst/>
            <a:gdLst>
              <a:gd name="connsiteX0" fmla="*/ 6862 w 2816774"/>
              <a:gd name="connsiteY0" fmla="*/ 2228850 h 3333750"/>
              <a:gd name="connsiteX1" fmla="*/ 159262 w 2816774"/>
              <a:gd name="connsiteY1" fmla="*/ 2019300 h 3333750"/>
              <a:gd name="connsiteX2" fmla="*/ 216412 w 2816774"/>
              <a:gd name="connsiteY2" fmla="*/ 1952625 h 3333750"/>
              <a:gd name="connsiteX3" fmla="*/ 292612 w 2816774"/>
              <a:gd name="connsiteY3" fmla="*/ 1847850 h 3333750"/>
              <a:gd name="connsiteX4" fmla="*/ 378337 w 2816774"/>
              <a:gd name="connsiteY4" fmla="*/ 1762125 h 3333750"/>
              <a:gd name="connsiteX5" fmla="*/ 416437 w 2816774"/>
              <a:gd name="connsiteY5" fmla="*/ 1704975 h 3333750"/>
              <a:gd name="connsiteX6" fmla="*/ 483112 w 2816774"/>
              <a:gd name="connsiteY6" fmla="*/ 1619250 h 3333750"/>
              <a:gd name="connsiteX7" fmla="*/ 502162 w 2816774"/>
              <a:gd name="connsiteY7" fmla="*/ 1590675 h 3333750"/>
              <a:gd name="connsiteX8" fmla="*/ 540262 w 2816774"/>
              <a:gd name="connsiteY8" fmla="*/ 1543050 h 3333750"/>
              <a:gd name="connsiteX9" fmla="*/ 587887 w 2816774"/>
              <a:gd name="connsiteY9" fmla="*/ 1476375 h 3333750"/>
              <a:gd name="connsiteX10" fmla="*/ 683137 w 2816774"/>
              <a:gd name="connsiteY10" fmla="*/ 1362075 h 3333750"/>
              <a:gd name="connsiteX11" fmla="*/ 749812 w 2816774"/>
              <a:gd name="connsiteY11" fmla="*/ 1247775 h 3333750"/>
              <a:gd name="connsiteX12" fmla="*/ 778387 w 2816774"/>
              <a:gd name="connsiteY12" fmla="*/ 1209675 h 3333750"/>
              <a:gd name="connsiteX13" fmla="*/ 835537 w 2816774"/>
              <a:gd name="connsiteY13" fmla="*/ 1076325 h 3333750"/>
              <a:gd name="connsiteX14" fmla="*/ 864112 w 2816774"/>
              <a:gd name="connsiteY14" fmla="*/ 1019175 h 3333750"/>
              <a:gd name="connsiteX15" fmla="*/ 930787 w 2816774"/>
              <a:gd name="connsiteY15" fmla="*/ 704850 h 3333750"/>
              <a:gd name="connsiteX16" fmla="*/ 959362 w 2816774"/>
              <a:gd name="connsiteY16" fmla="*/ 542925 h 3333750"/>
              <a:gd name="connsiteX17" fmla="*/ 987937 w 2816774"/>
              <a:gd name="connsiteY17" fmla="*/ 361950 h 3333750"/>
              <a:gd name="connsiteX18" fmla="*/ 1006987 w 2816774"/>
              <a:gd name="connsiteY18" fmla="*/ 276225 h 3333750"/>
              <a:gd name="connsiteX19" fmla="*/ 1035562 w 2816774"/>
              <a:gd name="connsiteY19" fmla="*/ 228600 h 3333750"/>
              <a:gd name="connsiteX20" fmla="*/ 1073662 w 2816774"/>
              <a:gd name="connsiteY20" fmla="*/ 133350 h 3333750"/>
              <a:gd name="connsiteX21" fmla="*/ 1130812 w 2816774"/>
              <a:gd name="connsiteY21" fmla="*/ 47625 h 3333750"/>
              <a:gd name="connsiteX22" fmla="*/ 1168912 w 2816774"/>
              <a:gd name="connsiteY22" fmla="*/ 28575 h 3333750"/>
              <a:gd name="connsiteX23" fmla="*/ 1245112 w 2816774"/>
              <a:gd name="connsiteY23" fmla="*/ 0 h 3333750"/>
              <a:gd name="connsiteX24" fmla="*/ 1578487 w 2816774"/>
              <a:gd name="connsiteY24" fmla="*/ 9525 h 3333750"/>
              <a:gd name="connsiteX25" fmla="*/ 1616587 w 2816774"/>
              <a:gd name="connsiteY25" fmla="*/ 19050 h 3333750"/>
              <a:gd name="connsiteX26" fmla="*/ 1683262 w 2816774"/>
              <a:gd name="connsiteY26" fmla="*/ 28575 h 3333750"/>
              <a:gd name="connsiteX27" fmla="*/ 1845187 w 2816774"/>
              <a:gd name="connsiteY27" fmla="*/ 38100 h 3333750"/>
              <a:gd name="connsiteX28" fmla="*/ 1959487 w 2816774"/>
              <a:gd name="connsiteY28" fmla="*/ 47625 h 3333750"/>
              <a:gd name="connsiteX29" fmla="*/ 2130937 w 2816774"/>
              <a:gd name="connsiteY29" fmla="*/ 66675 h 3333750"/>
              <a:gd name="connsiteX30" fmla="*/ 2226187 w 2816774"/>
              <a:gd name="connsiteY30" fmla="*/ 76200 h 3333750"/>
              <a:gd name="connsiteX31" fmla="*/ 2311912 w 2816774"/>
              <a:gd name="connsiteY31" fmla="*/ 85725 h 3333750"/>
              <a:gd name="connsiteX32" fmla="*/ 2340487 w 2816774"/>
              <a:gd name="connsiteY32" fmla="*/ 95250 h 3333750"/>
              <a:gd name="connsiteX33" fmla="*/ 2388112 w 2816774"/>
              <a:gd name="connsiteY33" fmla="*/ 104775 h 3333750"/>
              <a:gd name="connsiteX34" fmla="*/ 2483362 w 2816774"/>
              <a:gd name="connsiteY34" fmla="*/ 142875 h 3333750"/>
              <a:gd name="connsiteX35" fmla="*/ 2530987 w 2816774"/>
              <a:gd name="connsiteY35" fmla="*/ 161925 h 3333750"/>
              <a:gd name="connsiteX36" fmla="*/ 2616712 w 2816774"/>
              <a:gd name="connsiteY36" fmla="*/ 200025 h 3333750"/>
              <a:gd name="connsiteX37" fmla="*/ 2654812 w 2816774"/>
              <a:gd name="connsiteY37" fmla="*/ 238125 h 3333750"/>
              <a:gd name="connsiteX38" fmla="*/ 2664337 w 2816774"/>
              <a:gd name="connsiteY38" fmla="*/ 266700 h 3333750"/>
              <a:gd name="connsiteX39" fmla="*/ 2692912 w 2816774"/>
              <a:gd name="connsiteY39" fmla="*/ 285750 h 3333750"/>
              <a:gd name="connsiteX40" fmla="*/ 2731012 w 2816774"/>
              <a:gd name="connsiteY40" fmla="*/ 323850 h 3333750"/>
              <a:gd name="connsiteX41" fmla="*/ 2769112 w 2816774"/>
              <a:gd name="connsiteY41" fmla="*/ 400050 h 3333750"/>
              <a:gd name="connsiteX42" fmla="*/ 2807212 w 2816774"/>
              <a:gd name="connsiteY42" fmla="*/ 466725 h 3333750"/>
              <a:gd name="connsiteX43" fmla="*/ 2816737 w 2816774"/>
              <a:gd name="connsiteY43" fmla="*/ 533400 h 3333750"/>
              <a:gd name="connsiteX44" fmla="*/ 2797687 w 2816774"/>
              <a:gd name="connsiteY44" fmla="*/ 819150 h 3333750"/>
              <a:gd name="connsiteX45" fmla="*/ 2759587 w 2816774"/>
              <a:gd name="connsiteY45" fmla="*/ 952500 h 3333750"/>
              <a:gd name="connsiteX46" fmla="*/ 2750062 w 2816774"/>
              <a:gd name="connsiteY46" fmla="*/ 1019175 h 3333750"/>
              <a:gd name="connsiteX47" fmla="*/ 2731012 w 2816774"/>
              <a:gd name="connsiteY47" fmla="*/ 1076325 h 3333750"/>
              <a:gd name="connsiteX48" fmla="*/ 2711962 w 2816774"/>
              <a:gd name="connsiteY48" fmla="*/ 1143000 h 3333750"/>
              <a:gd name="connsiteX49" fmla="*/ 2692912 w 2816774"/>
              <a:gd name="connsiteY49" fmla="*/ 1247775 h 3333750"/>
              <a:gd name="connsiteX50" fmla="*/ 2673862 w 2816774"/>
              <a:gd name="connsiteY50" fmla="*/ 1333500 h 3333750"/>
              <a:gd name="connsiteX51" fmla="*/ 2664337 w 2816774"/>
              <a:gd name="connsiteY51" fmla="*/ 1409700 h 3333750"/>
              <a:gd name="connsiteX52" fmla="*/ 2645287 w 2816774"/>
              <a:gd name="connsiteY52" fmla="*/ 1524000 h 3333750"/>
              <a:gd name="connsiteX53" fmla="*/ 2635762 w 2816774"/>
              <a:gd name="connsiteY53" fmla="*/ 1590675 h 3333750"/>
              <a:gd name="connsiteX54" fmla="*/ 2597662 w 2816774"/>
              <a:gd name="connsiteY54" fmla="*/ 1724025 h 3333750"/>
              <a:gd name="connsiteX55" fmla="*/ 2550037 w 2816774"/>
              <a:gd name="connsiteY55" fmla="*/ 1819275 h 3333750"/>
              <a:gd name="connsiteX56" fmla="*/ 2540512 w 2816774"/>
              <a:gd name="connsiteY56" fmla="*/ 1866900 h 3333750"/>
              <a:gd name="connsiteX57" fmla="*/ 2464312 w 2816774"/>
              <a:gd name="connsiteY57" fmla="*/ 2000250 h 3333750"/>
              <a:gd name="connsiteX58" fmla="*/ 2435737 w 2816774"/>
              <a:gd name="connsiteY58" fmla="*/ 2057400 h 3333750"/>
              <a:gd name="connsiteX59" fmla="*/ 2397637 w 2816774"/>
              <a:gd name="connsiteY59" fmla="*/ 2124075 h 3333750"/>
              <a:gd name="connsiteX60" fmla="*/ 2369062 w 2816774"/>
              <a:gd name="connsiteY60" fmla="*/ 2200275 h 3333750"/>
              <a:gd name="connsiteX61" fmla="*/ 2311912 w 2816774"/>
              <a:gd name="connsiteY61" fmla="*/ 2314575 h 3333750"/>
              <a:gd name="connsiteX62" fmla="*/ 2292862 w 2816774"/>
              <a:gd name="connsiteY62" fmla="*/ 2362200 h 3333750"/>
              <a:gd name="connsiteX63" fmla="*/ 2264287 w 2816774"/>
              <a:gd name="connsiteY63" fmla="*/ 2409825 h 3333750"/>
              <a:gd name="connsiteX64" fmla="*/ 2235712 w 2816774"/>
              <a:gd name="connsiteY64" fmla="*/ 2466975 h 3333750"/>
              <a:gd name="connsiteX65" fmla="*/ 2140462 w 2816774"/>
              <a:gd name="connsiteY65" fmla="*/ 2628900 h 3333750"/>
              <a:gd name="connsiteX66" fmla="*/ 2073787 w 2816774"/>
              <a:gd name="connsiteY66" fmla="*/ 2762250 h 3333750"/>
              <a:gd name="connsiteX67" fmla="*/ 2035687 w 2816774"/>
              <a:gd name="connsiteY67" fmla="*/ 2800350 h 3333750"/>
              <a:gd name="connsiteX68" fmla="*/ 1969012 w 2816774"/>
              <a:gd name="connsiteY68" fmla="*/ 2905125 h 3333750"/>
              <a:gd name="connsiteX69" fmla="*/ 1835662 w 2816774"/>
              <a:gd name="connsiteY69" fmla="*/ 3038475 h 3333750"/>
              <a:gd name="connsiteX70" fmla="*/ 1768987 w 2816774"/>
              <a:gd name="connsiteY70" fmla="*/ 3105150 h 3333750"/>
              <a:gd name="connsiteX71" fmla="*/ 1635637 w 2816774"/>
              <a:gd name="connsiteY71" fmla="*/ 3181350 h 3333750"/>
              <a:gd name="connsiteX72" fmla="*/ 1521337 w 2816774"/>
              <a:gd name="connsiteY72" fmla="*/ 3248025 h 3333750"/>
              <a:gd name="connsiteX73" fmla="*/ 1483237 w 2816774"/>
              <a:gd name="connsiteY73" fmla="*/ 3276600 h 3333750"/>
              <a:gd name="connsiteX74" fmla="*/ 1407037 w 2816774"/>
              <a:gd name="connsiteY74" fmla="*/ 3305175 h 3333750"/>
              <a:gd name="connsiteX75" fmla="*/ 1349887 w 2816774"/>
              <a:gd name="connsiteY75" fmla="*/ 3333750 h 3333750"/>
              <a:gd name="connsiteX76" fmla="*/ 987937 w 2816774"/>
              <a:gd name="connsiteY76" fmla="*/ 3286125 h 3333750"/>
              <a:gd name="connsiteX77" fmla="*/ 902212 w 2816774"/>
              <a:gd name="connsiteY77" fmla="*/ 3228975 h 3333750"/>
              <a:gd name="connsiteX78" fmla="*/ 559312 w 2816774"/>
              <a:gd name="connsiteY78" fmla="*/ 2914650 h 3333750"/>
              <a:gd name="connsiteX79" fmla="*/ 502162 w 2816774"/>
              <a:gd name="connsiteY79" fmla="*/ 2828925 h 3333750"/>
              <a:gd name="connsiteX80" fmla="*/ 435487 w 2816774"/>
              <a:gd name="connsiteY80" fmla="*/ 2752725 h 3333750"/>
              <a:gd name="connsiteX81" fmla="*/ 406912 w 2816774"/>
              <a:gd name="connsiteY81" fmla="*/ 2733675 h 3333750"/>
              <a:gd name="connsiteX82" fmla="*/ 340237 w 2816774"/>
              <a:gd name="connsiteY82" fmla="*/ 2667000 h 3333750"/>
              <a:gd name="connsiteX83" fmla="*/ 311662 w 2816774"/>
              <a:gd name="connsiteY83" fmla="*/ 2628900 h 3333750"/>
              <a:gd name="connsiteX84" fmla="*/ 264037 w 2816774"/>
              <a:gd name="connsiteY84" fmla="*/ 2581275 h 3333750"/>
              <a:gd name="connsiteX85" fmla="*/ 235462 w 2816774"/>
              <a:gd name="connsiteY85" fmla="*/ 2543175 h 3333750"/>
              <a:gd name="connsiteX86" fmla="*/ 149737 w 2816774"/>
              <a:gd name="connsiteY86" fmla="*/ 2457450 h 3333750"/>
              <a:gd name="connsiteX87" fmla="*/ 73537 w 2816774"/>
              <a:gd name="connsiteY87" fmla="*/ 2352675 h 3333750"/>
              <a:gd name="connsiteX88" fmla="*/ 35437 w 2816774"/>
              <a:gd name="connsiteY88" fmla="*/ 2295525 h 3333750"/>
              <a:gd name="connsiteX89" fmla="*/ 25912 w 2816774"/>
              <a:gd name="connsiteY89" fmla="*/ 2266950 h 3333750"/>
              <a:gd name="connsiteX90" fmla="*/ 6862 w 2816774"/>
              <a:gd name="connsiteY90" fmla="*/ 2228850 h 33337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</a:cxnLst>
            <a:rect l="l" t="t" r="r" b="b"/>
            <a:pathLst>
              <a:path w="2816774" h="3333750">
                <a:moveTo>
                  <a:pt x="6862" y="2228850"/>
                </a:moveTo>
                <a:cubicBezTo>
                  <a:pt x="29087" y="2187575"/>
                  <a:pt x="39099" y="2171085"/>
                  <a:pt x="159262" y="2019300"/>
                </a:cubicBezTo>
                <a:cubicBezTo>
                  <a:pt x="177431" y="1996349"/>
                  <a:pt x="199195" y="1976298"/>
                  <a:pt x="216412" y="1952625"/>
                </a:cubicBezTo>
                <a:cubicBezTo>
                  <a:pt x="241812" y="1917700"/>
                  <a:pt x="264644" y="1880754"/>
                  <a:pt x="292612" y="1847850"/>
                </a:cubicBezTo>
                <a:cubicBezTo>
                  <a:pt x="318784" y="1817059"/>
                  <a:pt x="351871" y="1792663"/>
                  <a:pt x="378337" y="1762125"/>
                </a:cubicBezTo>
                <a:cubicBezTo>
                  <a:pt x="393332" y="1744823"/>
                  <a:pt x="402898" y="1723438"/>
                  <a:pt x="416437" y="1704975"/>
                </a:cubicBezTo>
                <a:cubicBezTo>
                  <a:pt x="437845" y="1675783"/>
                  <a:pt x="463032" y="1649371"/>
                  <a:pt x="483112" y="1619250"/>
                </a:cubicBezTo>
                <a:cubicBezTo>
                  <a:pt x="489462" y="1609725"/>
                  <a:pt x="495293" y="1599833"/>
                  <a:pt x="502162" y="1590675"/>
                </a:cubicBezTo>
                <a:cubicBezTo>
                  <a:pt x="514360" y="1574411"/>
                  <a:pt x="528064" y="1559314"/>
                  <a:pt x="540262" y="1543050"/>
                </a:cubicBezTo>
                <a:cubicBezTo>
                  <a:pt x="556649" y="1521200"/>
                  <a:pt x="570592" y="1497514"/>
                  <a:pt x="587887" y="1476375"/>
                </a:cubicBezTo>
                <a:cubicBezTo>
                  <a:pt x="666062" y="1380827"/>
                  <a:pt x="584054" y="1514510"/>
                  <a:pt x="683137" y="1362075"/>
                </a:cubicBezTo>
                <a:cubicBezTo>
                  <a:pt x="707176" y="1325093"/>
                  <a:pt x="723347" y="1283062"/>
                  <a:pt x="749812" y="1247775"/>
                </a:cubicBezTo>
                <a:cubicBezTo>
                  <a:pt x="759337" y="1235075"/>
                  <a:pt x="771287" y="1223874"/>
                  <a:pt x="778387" y="1209675"/>
                </a:cubicBezTo>
                <a:cubicBezTo>
                  <a:pt x="800014" y="1166420"/>
                  <a:pt x="813910" y="1119580"/>
                  <a:pt x="835537" y="1076325"/>
                </a:cubicBezTo>
                <a:lnTo>
                  <a:pt x="864112" y="1019175"/>
                </a:lnTo>
                <a:cubicBezTo>
                  <a:pt x="885157" y="924472"/>
                  <a:pt x="913620" y="802130"/>
                  <a:pt x="930787" y="704850"/>
                </a:cubicBezTo>
                <a:lnTo>
                  <a:pt x="959362" y="542925"/>
                </a:lnTo>
                <a:cubicBezTo>
                  <a:pt x="973862" y="368929"/>
                  <a:pt x="956537" y="487551"/>
                  <a:pt x="987937" y="361950"/>
                </a:cubicBezTo>
                <a:cubicBezTo>
                  <a:pt x="995037" y="333552"/>
                  <a:pt x="997142" y="303792"/>
                  <a:pt x="1006987" y="276225"/>
                </a:cubicBezTo>
                <a:cubicBezTo>
                  <a:pt x="1013214" y="258790"/>
                  <a:pt x="1026037" y="244475"/>
                  <a:pt x="1035562" y="228600"/>
                </a:cubicBezTo>
                <a:cubicBezTo>
                  <a:pt x="1052487" y="127050"/>
                  <a:pt x="1029562" y="210525"/>
                  <a:pt x="1073662" y="133350"/>
                </a:cubicBezTo>
                <a:cubicBezTo>
                  <a:pt x="1108331" y="72679"/>
                  <a:pt x="1034025" y="133658"/>
                  <a:pt x="1130812" y="47625"/>
                </a:cubicBezTo>
                <a:cubicBezTo>
                  <a:pt x="1141424" y="38192"/>
                  <a:pt x="1155937" y="34342"/>
                  <a:pt x="1168912" y="28575"/>
                </a:cubicBezTo>
                <a:cubicBezTo>
                  <a:pt x="1203080" y="13389"/>
                  <a:pt x="1213693" y="10473"/>
                  <a:pt x="1245112" y="0"/>
                </a:cubicBezTo>
                <a:cubicBezTo>
                  <a:pt x="1356237" y="3175"/>
                  <a:pt x="1467463" y="3831"/>
                  <a:pt x="1578487" y="9525"/>
                </a:cubicBezTo>
                <a:cubicBezTo>
                  <a:pt x="1591561" y="10195"/>
                  <a:pt x="1603707" y="16708"/>
                  <a:pt x="1616587" y="19050"/>
                </a:cubicBezTo>
                <a:cubicBezTo>
                  <a:pt x="1638676" y="23066"/>
                  <a:pt x="1660889" y="26711"/>
                  <a:pt x="1683262" y="28575"/>
                </a:cubicBezTo>
                <a:cubicBezTo>
                  <a:pt x="1737144" y="33065"/>
                  <a:pt x="1791247" y="34380"/>
                  <a:pt x="1845187" y="38100"/>
                </a:cubicBezTo>
                <a:cubicBezTo>
                  <a:pt x="1883328" y="40730"/>
                  <a:pt x="1921412" y="44164"/>
                  <a:pt x="1959487" y="47625"/>
                </a:cubicBezTo>
                <a:cubicBezTo>
                  <a:pt x="2118320" y="62064"/>
                  <a:pt x="1992500" y="51293"/>
                  <a:pt x="2130937" y="66675"/>
                </a:cubicBezTo>
                <a:cubicBezTo>
                  <a:pt x="2162650" y="70199"/>
                  <a:pt x="2194454" y="72860"/>
                  <a:pt x="2226187" y="76200"/>
                </a:cubicBezTo>
                <a:lnTo>
                  <a:pt x="2311912" y="85725"/>
                </a:lnTo>
                <a:cubicBezTo>
                  <a:pt x="2321437" y="88900"/>
                  <a:pt x="2330747" y="92815"/>
                  <a:pt x="2340487" y="95250"/>
                </a:cubicBezTo>
                <a:cubicBezTo>
                  <a:pt x="2356193" y="99177"/>
                  <a:pt x="2372753" y="99655"/>
                  <a:pt x="2388112" y="104775"/>
                </a:cubicBezTo>
                <a:cubicBezTo>
                  <a:pt x="2420553" y="115589"/>
                  <a:pt x="2451612" y="130175"/>
                  <a:pt x="2483362" y="142875"/>
                </a:cubicBezTo>
                <a:lnTo>
                  <a:pt x="2530987" y="161925"/>
                </a:lnTo>
                <a:cubicBezTo>
                  <a:pt x="2545872" y="167879"/>
                  <a:pt x="2601457" y="188584"/>
                  <a:pt x="2616712" y="200025"/>
                </a:cubicBezTo>
                <a:cubicBezTo>
                  <a:pt x="2631080" y="210801"/>
                  <a:pt x="2642112" y="225425"/>
                  <a:pt x="2654812" y="238125"/>
                </a:cubicBezTo>
                <a:cubicBezTo>
                  <a:pt x="2657987" y="247650"/>
                  <a:pt x="2658065" y="258860"/>
                  <a:pt x="2664337" y="266700"/>
                </a:cubicBezTo>
                <a:cubicBezTo>
                  <a:pt x="2671488" y="275639"/>
                  <a:pt x="2684220" y="278300"/>
                  <a:pt x="2692912" y="285750"/>
                </a:cubicBezTo>
                <a:cubicBezTo>
                  <a:pt x="2706549" y="297439"/>
                  <a:pt x="2718312" y="311150"/>
                  <a:pt x="2731012" y="323850"/>
                </a:cubicBezTo>
                <a:cubicBezTo>
                  <a:pt x="2752491" y="388287"/>
                  <a:pt x="2724124" y="310075"/>
                  <a:pt x="2769112" y="400050"/>
                </a:cubicBezTo>
                <a:cubicBezTo>
                  <a:pt x="2805475" y="472776"/>
                  <a:pt x="2738116" y="374597"/>
                  <a:pt x="2807212" y="466725"/>
                </a:cubicBezTo>
                <a:cubicBezTo>
                  <a:pt x="2810387" y="488950"/>
                  <a:pt x="2817344" y="510958"/>
                  <a:pt x="2816737" y="533400"/>
                </a:cubicBezTo>
                <a:cubicBezTo>
                  <a:pt x="2814158" y="628827"/>
                  <a:pt x="2807680" y="724213"/>
                  <a:pt x="2797687" y="819150"/>
                </a:cubicBezTo>
                <a:cubicBezTo>
                  <a:pt x="2794007" y="854110"/>
                  <a:pt x="2771393" y="917082"/>
                  <a:pt x="2759587" y="952500"/>
                </a:cubicBezTo>
                <a:cubicBezTo>
                  <a:pt x="2756412" y="974725"/>
                  <a:pt x="2755110" y="997299"/>
                  <a:pt x="2750062" y="1019175"/>
                </a:cubicBezTo>
                <a:cubicBezTo>
                  <a:pt x="2745547" y="1038741"/>
                  <a:pt x="2736917" y="1057133"/>
                  <a:pt x="2731012" y="1076325"/>
                </a:cubicBezTo>
                <a:cubicBezTo>
                  <a:pt x="2724214" y="1098417"/>
                  <a:pt x="2717568" y="1120576"/>
                  <a:pt x="2711962" y="1143000"/>
                </a:cubicBezTo>
                <a:cubicBezTo>
                  <a:pt x="2701746" y="1183863"/>
                  <a:pt x="2701404" y="1205314"/>
                  <a:pt x="2692912" y="1247775"/>
                </a:cubicBezTo>
                <a:cubicBezTo>
                  <a:pt x="2680271" y="1310981"/>
                  <a:pt x="2684952" y="1261413"/>
                  <a:pt x="2673862" y="1333500"/>
                </a:cubicBezTo>
                <a:cubicBezTo>
                  <a:pt x="2669970" y="1358800"/>
                  <a:pt x="2668134" y="1384386"/>
                  <a:pt x="2664337" y="1409700"/>
                </a:cubicBezTo>
                <a:cubicBezTo>
                  <a:pt x="2658607" y="1447898"/>
                  <a:pt x="2650749" y="1485763"/>
                  <a:pt x="2645287" y="1524000"/>
                </a:cubicBezTo>
                <a:cubicBezTo>
                  <a:pt x="2642112" y="1546225"/>
                  <a:pt x="2640962" y="1568835"/>
                  <a:pt x="2635762" y="1590675"/>
                </a:cubicBezTo>
                <a:cubicBezTo>
                  <a:pt x="2625054" y="1635647"/>
                  <a:pt x="2612281" y="1680169"/>
                  <a:pt x="2597662" y="1724025"/>
                </a:cubicBezTo>
                <a:cubicBezTo>
                  <a:pt x="2573592" y="1796235"/>
                  <a:pt x="2590660" y="1765111"/>
                  <a:pt x="2550037" y="1819275"/>
                </a:cubicBezTo>
                <a:cubicBezTo>
                  <a:pt x="2546862" y="1835150"/>
                  <a:pt x="2546324" y="1851790"/>
                  <a:pt x="2540512" y="1866900"/>
                </a:cubicBezTo>
                <a:cubicBezTo>
                  <a:pt x="2508759" y="1949459"/>
                  <a:pt x="2504793" y="1930855"/>
                  <a:pt x="2464312" y="2000250"/>
                </a:cubicBezTo>
                <a:cubicBezTo>
                  <a:pt x="2453580" y="2018647"/>
                  <a:pt x="2445835" y="2038647"/>
                  <a:pt x="2435737" y="2057400"/>
                </a:cubicBezTo>
                <a:cubicBezTo>
                  <a:pt x="2423601" y="2079938"/>
                  <a:pt x="2408462" y="2100879"/>
                  <a:pt x="2397637" y="2124075"/>
                </a:cubicBezTo>
                <a:cubicBezTo>
                  <a:pt x="2386165" y="2148657"/>
                  <a:pt x="2380194" y="2175537"/>
                  <a:pt x="2369062" y="2200275"/>
                </a:cubicBezTo>
                <a:cubicBezTo>
                  <a:pt x="2351582" y="2239120"/>
                  <a:pt x="2327732" y="2275025"/>
                  <a:pt x="2311912" y="2314575"/>
                </a:cubicBezTo>
                <a:cubicBezTo>
                  <a:pt x="2305562" y="2330450"/>
                  <a:pt x="2300508" y="2346907"/>
                  <a:pt x="2292862" y="2362200"/>
                </a:cubicBezTo>
                <a:cubicBezTo>
                  <a:pt x="2284583" y="2378759"/>
                  <a:pt x="2273152" y="2393572"/>
                  <a:pt x="2264287" y="2409825"/>
                </a:cubicBezTo>
                <a:cubicBezTo>
                  <a:pt x="2254088" y="2428523"/>
                  <a:pt x="2246192" y="2448433"/>
                  <a:pt x="2235712" y="2466975"/>
                </a:cubicBezTo>
                <a:cubicBezTo>
                  <a:pt x="2204899" y="2521490"/>
                  <a:pt x="2165130" y="2571342"/>
                  <a:pt x="2140462" y="2628900"/>
                </a:cubicBezTo>
                <a:cubicBezTo>
                  <a:pt x="2120321" y="2675896"/>
                  <a:pt x="2104281" y="2720321"/>
                  <a:pt x="2073787" y="2762250"/>
                </a:cubicBezTo>
                <a:cubicBezTo>
                  <a:pt x="2063223" y="2776775"/>
                  <a:pt x="2046308" y="2785867"/>
                  <a:pt x="2035687" y="2800350"/>
                </a:cubicBezTo>
                <a:cubicBezTo>
                  <a:pt x="2011206" y="2833733"/>
                  <a:pt x="1993569" y="2871798"/>
                  <a:pt x="1969012" y="2905125"/>
                </a:cubicBezTo>
                <a:cubicBezTo>
                  <a:pt x="1908300" y="2987521"/>
                  <a:pt x="1906073" y="2973093"/>
                  <a:pt x="1835662" y="3038475"/>
                </a:cubicBezTo>
                <a:cubicBezTo>
                  <a:pt x="1812630" y="3059862"/>
                  <a:pt x="1792981" y="3084847"/>
                  <a:pt x="1768987" y="3105150"/>
                </a:cubicBezTo>
                <a:cubicBezTo>
                  <a:pt x="1724006" y="3143211"/>
                  <a:pt x="1687914" y="3152598"/>
                  <a:pt x="1635637" y="3181350"/>
                </a:cubicBezTo>
                <a:cubicBezTo>
                  <a:pt x="1596988" y="3202607"/>
                  <a:pt x="1556624" y="3221560"/>
                  <a:pt x="1521337" y="3248025"/>
                </a:cubicBezTo>
                <a:cubicBezTo>
                  <a:pt x="1508637" y="3257550"/>
                  <a:pt x="1496699" y="3268186"/>
                  <a:pt x="1483237" y="3276600"/>
                </a:cubicBezTo>
                <a:cubicBezTo>
                  <a:pt x="1423589" y="3313880"/>
                  <a:pt x="1467984" y="3280796"/>
                  <a:pt x="1407037" y="3305175"/>
                </a:cubicBezTo>
                <a:cubicBezTo>
                  <a:pt x="1387262" y="3313085"/>
                  <a:pt x="1368937" y="3324225"/>
                  <a:pt x="1349887" y="3333750"/>
                </a:cubicBezTo>
                <a:cubicBezTo>
                  <a:pt x="1198779" y="3327706"/>
                  <a:pt x="1116926" y="3344756"/>
                  <a:pt x="987937" y="3286125"/>
                </a:cubicBezTo>
                <a:cubicBezTo>
                  <a:pt x="956672" y="3271914"/>
                  <a:pt x="929368" y="3249999"/>
                  <a:pt x="902212" y="3228975"/>
                </a:cubicBezTo>
                <a:cubicBezTo>
                  <a:pt x="750639" y="3111628"/>
                  <a:pt x="675997" y="3054672"/>
                  <a:pt x="559312" y="2914650"/>
                </a:cubicBezTo>
                <a:cubicBezTo>
                  <a:pt x="537326" y="2888267"/>
                  <a:pt x="522123" y="2856871"/>
                  <a:pt x="502162" y="2828925"/>
                </a:cubicBezTo>
                <a:cubicBezTo>
                  <a:pt x="487025" y="2807733"/>
                  <a:pt x="457647" y="2771191"/>
                  <a:pt x="435487" y="2752725"/>
                </a:cubicBezTo>
                <a:cubicBezTo>
                  <a:pt x="426693" y="2745396"/>
                  <a:pt x="416437" y="2740025"/>
                  <a:pt x="406912" y="2733675"/>
                </a:cubicBezTo>
                <a:cubicBezTo>
                  <a:pt x="363845" y="2669074"/>
                  <a:pt x="419427" y="2746190"/>
                  <a:pt x="340237" y="2667000"/>
                </a:cubicBezTo>
                <a:cubicBezTo>
                  <a:pt x="329012" y="2655775"/>
                  <a:pt x="322209" y="2640765"/>
                  <a:pt x="311662" y="2628900"/>
                </a:cubicBezTo>
                <a:cubicBezTo>
                  <a:pt x="296747" y="2612120"/>
                  <a:pt x="278952" y="2598055"/>
                  <a:pt x="264037" y="2581275"/>
                </a:cubicBezTo>
                <a:cubicBezTo>
                  <a:pt x="253490" y="2569410"/>
                  <a:pt x="246230" y="2554840"/>
                  <a:pt x="235462" y="2543175"/>
                </a:cubicBezTo>
                <a:cubicBezTo>
                  <a:pt x="208052" y="2513481"/>
                  <a:pt x="173506" y="2490132"/>
                  <a:pt x="149737" y="2457450"/>
                </a:cubicBezTo>
                <a:lnTo>
                  <a:pt x="73537" y="2352675"/>
                </a:lnTo>
                <a:cubicBezTo>
                  <a:pt x="50889" y="2284731"/>
                  <a:pt x="83003" y="2366874"/>
                  <a:pt x="35437" y="2295525"/>
                </a:cubicBezTo>
                <a:cubicBezTo>
                  <a:pt x="29868" y="2287171"/>
                  <a:pt x="29641" y="2276272"/>
                  <a:pt x="25912" y="2266950"/>
                </a:cubicBezTo>
                <a:cubicBezTo>
                  <a:pt x="23275" y="2260358"/>
                  <a:pt x="-15363" y="2270125"/>
                  <a:pt x="6862" y="2228850"/>
                </a:cubicBezTo>
                <a:close/>
              </a:path>
            </a:pathLst>
          </a:cu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Freihandform: Form 19">
            <a:extLst>
              <a:ext uri="{FF2B5EF4-FFF2-40B4-BE49-F238E27FC236}">
                <a16:creationId xmlns:a16="http://schemas.microsoft.com/office/drawing/2014/main" id="{D656CF3C-F7BD-6263-DF01-289180CD38DC}"/>
              </a:ext>
            </a:extLst>
          </p:cNvPr>
          <p:cNvSpPr/>
          <p:nvPr/>
        </p:nvSpPr>
        <p:spPr>
          <a:xfrm>
            <a:off x="5657850" y="9152833"/>
            <a:ext cx="2019300" cy="3820217"/>
          </a:xfrm>
          <a:custGeom>
            <a:avLst/>
            <a:gdLst>
              <a:gd name="connsiteX0" fmla="*/ 1457325 w 2019300"/>
              <a:gd name="connsiteY0" fmla="*/ 3772592 h 3820217"/>
              <a:gd name="connsiteX1" fmla="*/ 1647825 w 2019300"/>
              <a:gd name="connsiteY1" fmla="*/ 3629717 h 3820217"/>
              <a:gd name="connsiteX2" fmla="*/ 1733550 w 2019300"/>
              <a:gd name="connsiteY2" fmla="*/ 3524942 h 3820217"/>
              <a:gd name="connsiteX3" fmla="*/ 1905000 w 2019300"/>
              <a:gd name="connsiteY3" fmla="*/ 3134417 h 3820217"/>
              <a:gd name="connsiteX4" fmla="*/ 1924050 w 2019300"/>
              <a:gd name="connsiteY4" fmla="*/ 3010592 h 3820217"/>
              <a:gd name="connsiteX5" fmla="*/ 1952625 w 2019300"/>
              <a:gd name="connsiteY5" fmla="*/ 2877242 h 3820217"/>
              <a:gd name="connsiteX6" fmla="*/ 1971675 w 2019300"/>
              <a:gd name="connsiteY6" fmla="*/ 2715317 h 3820217"/>
              <a:gd name="connsiteX7" fmla="*/ 1990725 w 2019300"/>
              <a:gd name="connsiteY7" fmla="*/ 2562917 h 3820217"/>
              <a:gd name="connsiteX8" fmla="*/ 2000250 w 2019300"/>
              <a:gd name="connsiteY8" fmla="*/ 2486717 h 3820217"/>
              <a:gd name="connsiteX9" fmla="*/ 2009775 w 2019300"/>
              <a:gd name="connsiteY9" fmla="*/ 2134292 h 3820217"/>
              <a:gd name="connsiteX10" fmla="*/ 2019300 w 2019300"/>
              <a:gd name="connsiteY10" fmla="*/ 1877117 h 3820217"/>
              <a:gd name="connsiteX11" fmla="*/ 2009775 w 2019300"/>
              <a:gd name="connsiteY11" fmla="*/ 791267 h 3820217"/>
              <a:gd name="connsiteX12" fmla="*/ 1990725 w 2019300"/>
              <a:gd name="connsiteY12" fmla="*/ 543617 h 3820217"/>
              <a:gd name="connsiteX13" fmla="*/ 1971675 w 2019300"/>
              <a:gd name="connsiteY13" fmla="*/ 400742 h 3820217"/>
              <a:gd name="connsiteX14" fmla="*/ 1924050 w 2019300"/>
              <a:gd name="connsiteY14" fmla="*/ 286442 h 3820217"/>
              <a:gd name="connsiteX15" fmla="*/ 1885950 w 2019300"/>
              <a:gd name="connsiteY15" fmla="*/ 248342 h 3820217"/>
              <a:gd name="connsiteX16" fmla="*/ 1819275 w 2019300"/>
              <a:gd name="connsiteY16" fmla="*/ 229292 h 3820217"/>
              <a:gd name="connsiteX17" fmla="*/ 1647825 w 2019300"/>
              <a:gd name="connsiteY17" fmla="*/ 162617 h 3820217"/>
              <a:gd name="connsiteX18" fmla="*/ 1409700 w 2019300"/>
              <a:gd name="connsiteY18" fmla="*/ 124517 h 3820217"/>
              <a:gd name="connsiteX19" fmla="*/ 1285875 w 2019300"/>
              <a:gd name="connsiteY19" fmla="*/ 95942 h 3820217"/>
              <a:gd name="connsiteX20" fmla="*/ 962025 w 2019300"/>
              <a:gd name="connsiteY20" fmla="*/ 67367 h 3820217"/>
              <a:gd name="connsiteX21" fmla="*/ 857250 w 2019300"/>
              <a:gd name="connsiteY21" fmla="*/ 48317 h 3820217"/>
              <a:gd name="connsiteX22" fmla="*/ 695325 w 2019300"/>
              <a:gd name="connsiteY22" fmla="*/ 29267 h 3820217"/>
              <a:gd name="connsiteX23" fmla="*/ 523875 w 2019300"/>
              <a:gd name="connsiteY23" fmla="*/ 692 h 3820217"/>
              <a:gd name="connsiteX24" fmla="*/ 457200 w 2019300"/>
              <a:gd name="connsiteY24" fmla="*/ 19742 h 3820217"/>
              <a:gd name="connsiteX25" fmla="*/ 409575 w 2019300"/>
              <a:gd name="connsiteY25" fmla="*/ 95942 h 3820217"/>
              <a:gd name="connsiteX26" fmla="*/ 371475 w 2019300"/>
              <a:gd name="connsiteY26" fmla="*/ 162617 h 3820217"/>
              <a:gd name="connsiteX27" fmla="*/ 352425 w 2019300"/>
              <a:gd name="connsiteY27" fmla="*/ 229292 h 3820217"/>
              <a:gd name="connsiteX28" fmla="*/ 333375 w 2019300"/>
              <a:gd name="connsiteY28" fmla="*/ 276917 h 3820217"/>
              <a:gd name="connsiteX29" fmla="*/ 323850 w 2019300"/>
              <a:gd name="connsiteY29" fmla="*/ 334067 h 3820217"/>
              <a:gd name="connsiteX30" fmla="*/ 304800 w 2019300"/>
              <a:gd name="connsiteY30" fmla="*/ 648392 h 3820217"/>
              <a:gd name="connsiteX31" fmla="*/ 295275 w 2019300"/>
              <a:gd name="connsiteY31" fmla="*/ 696017 h 3820217"/>
              <a:gd name="connsiteX32" fmla="*/ 285750 w 2019300"/>
              <a:gd name="connsiteY32" fmla="*/ 781742 h 3820217"/>
              <a:gd name="connsiteX33" fmla="*/ 266700 w 2019300"/>
              <a:gd name="connsiteY33" fmla="*/ 991292 h 3820217"/>
              <a:gd name="connsiteX34" fmla="*/ 276225 w 2019300"/>
              <a:gd name="connsiteY34" fmla="*/ 1429442 h 3820217"/>
              <a:gd name="connsiteX35" fmla="*/ 285750 w 2019300"/>
              <a:gd name="connsiteY35" fmla="*/ 1467542 h 3820217"/>
              <a:gd name="connsiteX36" fmla="*/ 304800 w 2019300"/>
              <a:gd name="connsiteY36" fmla="*/ 1572317 h 3820217"/>
              <a:gd name="connsiteX37" fmla="*/ 314325 w 2019300"/>
              <a:gd name="connsiteY37" fmla="*/ 1610417 h 3820217"/>
              <a:gd name="connsiteX38" fmla="*/ 333375 w 2019300"/>
              <a:gd name="connsiteY38" fmla="*/ 1715192 h 3820217"/>
              <a:gd name="connsiteX39" fmla="*/ 323850 w 2019300"/>
              <a:gd name="connsiteY39" fmla="*/ 2039042 h 3820217"/>
              <a:gd name="connsiteX40" fmla="*/ 314325 w 2019300"/>
              <a:gd name="connsiteY40" fmla="*/ 2086667 h 3820217"/>
              <a:gd name="connsiteX41" fmla="*/ 295275 w 2019300"/>
              <a:gd name="connsiteY41" fmla="*/ 2124767 h 3820217"/>
              <a:gd name="connsiteX42" fmla="*/ 257175 w 2019300"/>
              <a:gd name="connsiteY42" fmla="*/ 2324792 h 3820217"/>
              <a:gd name="connsiteX43" fmla="*/ 238125 w 2019300"/>
              <a:gd name="connsiteY43" fmla="*/ 2429567 h 3820217"/>
              <a:gd name="connsiteX44" fmla="*/ 180975 w 2019300"/>
              <a:gd name="connsiteY44" fmla="*/ 2639117 h 3820217"/>
              <a:gd name="connsiteX45" fmla="*/ 95250 w 2019300"/>
              <a:gd name="connsiteY45" fmla="*/ 2820092 h 3820217"/>
              <a:gd name="connsiteX46" fmla="*/ 76200 w 2019300"/>
              <a:gd name="connsiteY46" fmla="*/ 2896292 h 3820217"/>
              <a:gd name="connsiteX47" fmla="*/ 47625 w 2019300"/>
              <a:gd name="connsiteY47" fmla="*/ 3001067 h 3820217"/>
              <a:gd name="connsiteX48" fmla="*/ 38100 w 2019300"/>
              <a:gd name="connsiteY48" fmla="*/ 3096317 h 3820217"/>
              <a:gd name="connsiteX49" fmla="*/ 28575 w 2019300"/>
              <a:gd name="connsiteY49" fmla="*/ 3220142 h 3820217"/>
              <a:gd name="connsiteX50" fmla="*/ 9525 w 2019300"/>
              <a:gd name="connsiteY50" fmla="*/ 3334442 h 3820217"/>
              <a:gd name="connsiteX51" fmla="*/ 0 w 2019300"/>
              <a:gd name="connsiteY51" fmla="*/ 3391592 h 3820217"/>
              <a:gd name="connsiteX52" fmla="*/ 19050 w 2019300"/>
              <a:gd name="connsiteY52" fmla="*/ 3572567 h 3820217"/>
              <a:gd name="connsiteX53" fmla="*/ 76200 w 2019300"/>
              <a:gd name="connsiteY53" fmla="*/ 3601142 h 3820217"/>
              <a:gd name="connsiteX54" fmla="*/ 219075 w 2019300"/>
              <a:gd name="connsiteY54" fmla="*/ 3639242 h 3820217"/>
              <a:gd name="connsiteX55" fmla="*/ 304800 w 2019300"/>
              <a:gd name="connsiteY55" fmla="*/ 3677342 h 3820217"/>
              <a:gd name="connsiteX56" fmla="*/ 371475 w 2019300"/>
              <a:gd name="connsiteY56" fmla="*/ 3696392 h 3820217"/>
              <a:gd name="connsiteX57" fmla="*/ 409575 w 2019300"/>
              <a:gd name="connsiteY57" fmla="*/ 3715442 h 3820217"/>
              <a:gd name="connsiteX58" fmla="*/ 514350 w 2019300"/>
              <a:gd name="connsiteY58" fmla="*/ 3734492 h 3820217"/>
              <a:gd name="connsiteX59" fmla="*/ 600075 w 2019300"/>
              <a:gd name="connsiteY59" fmla="*/ 3763067 h 3820217"/>
              <a:gd name="connsiteX60" fmla="*/ 828675 w 2019300"/>
              <a:gd name="connsiteY60" fmla="*/ 3782117 h 3820217"/>
              <a:gd name="connsiteX61" fmla="*/ 1152525 w 2019300"/>
              <a:gd name="connsiteY61" fmla="*/ 3791642 h 3820217"/>
              <a:gd name="connsiteX62" fmla="*/ 1362075 w 2019300"/>
              <a:gd name="connsiteY62" fmla="*/ 3810692 h 3820217"/>
              <a:gd name="connsiteX63" fmla="*/ 1409700 w 2019300"/>
              <a:gd name="connsiteY63" fmla="*/ 3820217 h 3820217"/>
              <a:gd name="connsiteX64" fmla="*/ 1504950 w 2019300"/>
              <a:gd name="connsiteY64" fmla="*/ 3810692 h 3820217"/>
              <a:gd name="connsiteX65" fmla="*/ 1533525 w 2019300"/>
              <a:gd name="connsiteY65" fmla="*/ 3753542 h 3820217"/>
              <a:gd name="connsiteX66" fmla="*/ 1600200 w 2019300"/>
              <a:gd name="connsiteY66" fmla="*/ 3705917 h 3820217"/>
              <a:gd name="connsiteX67" fmla="*/ 1600200 w 2019300"/>
              <a:gd name="connsiteY67" fmla="*/ 3696392 h 38202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</a:cxnLst>
            <a:rect l="l" t="t" r="r" b="b"/>
            <a:pathLst>
              <a:path w="2019300" h="3820217">
                <a:moveTo>
                  <a:pt x="1457325" y="3772592"/>
                </a:moveTo>
                <a:cubicBezTo>
                  <a:pt x="1538724" y="3721717"/>
                  <a:pt x="1571541" y="3706001"/>
                  <a:pt x="1647825" y="3629717"/>
                </a:cubicBezTo>
                <a:cubicBezTo>
                  <a:pt x="1679733" y="3597809"/>
                  <a:pt x="1710754" y="3563886"/>
                  <a:pt x="1733550" y="3524942"/>
                </a:cubicBezTo>
                <a:cubicBezTo>
                  <a:pt x="1816578" y="3383103"/>
                  <a:pt x="1874252" y="3282005"/>
                  <a:pt x="1905000" y="3134417"/>
                </a:cubicBezTo>
                <a:cubicBezTo>
                  <a:pt x="1913517" y="3093534"/>
                  <a:pt x="1916446" y="3051654"/>
                  <a:pt x="1924050" y="3010592"/>
                </a:cubicBezTo>
                <a:cubicBezTo>
                  <a:pt x="1932328" y="2965893"/>
                  <a:pt x="1944493" y="2921968"/>
                  <a:pt x="1952625" y="2877242"/>
                </a:cubicBezTo>
                <a:cubicBezTo>
                  <a:pt x="1956753" y="2854540"/>
                  <a:pt x="1969391" y="2734352"/>
                  <a:pt x="1971675" y="2715317"/>
                </a:cubicBezTo>
                <a:cubicBezTo>
                  <a:pt x="1977775" y="2664486"/>
                  <a:pt x="1984375" y="2613717"/>
                  <a:pt x="1990725" y="2562917"/>
                </a:cubicBezTo>
                <a:lnTo>
                  <a:pt x="2000250" y="2486717"/>
                </a:lnTo>
                <a:cubicBezTo>
                  <a:pt x="2003425" y="2369242"/>
                  <a:pt x="2006104" y="2251753"/>
                  <a:pt x="2009775" y="2134292"/>
                </a:cubicBezTo>
                <a:cubicBezTo>
                  <a:pt x="2012454" y="2048550"/>
                  <a:pt x="2019300" y="1962901"/>
                  <a:pt x="2019300" y="1877117"/>
                </a:cubicBezTo>
                <a:cubicBezTo>
                  <a:pt x="2019300" y="1515153"/>
                  <a:pt x="2015259" y="1153189"/>
                  <a:pt x="2009775" y="791267"/>
                </a:cubicBezTo>
                <a:cubicBezTo>
                  <a:pt x="2007142" y="617457"/>
                  <a:pt x="2003633" y="666239"/>
                  <a:pt x="1990725" y="543617"/>
                </a:cubicBezTo>
                <a:cubicBezTo>
                  <a:pt x="1980021" y="441928"/>
                  <a:pt x="1989703" y="466846"/>
                  <a:pt x="1971675" y="400742"/>
                </a:cubicBezTo>
                <a:cubicBezTo>
                  <a:pt x="1957312" y="348079"/>
                  <a:pt x="1956689" y="328407"/>
                  <a:pt x="1924050" y="286442"/>
                </a:cubicBezTo>
                <a:cubicBezTo>
                  <a:pt x="1913023" y="272265"/>
                  <a:pt x="1900565" y="258781"/>
                  <a:pt x="1885950" y="248342"/>
                </a:cubicBezTo>
                <a:cubicBezTo>
                  <a:pt x="1877602" y="242379"/>
                  <a:pt x="1824550" y="231210"/>
                  <a:pt x="1819275" y="229292"/>
                </a:cubicBezTo>
                <a:cubicBezTo>
                  <a:pt x="1761647" y="208337"/>
                  <a:pt x="1707783" y="175465"/>
                  <a:pt x="1647825" y="162617"/>
                </a:cubicBezTo>
                <a:cubicBezTo>
                  <a:pt x="1426369" y="115162"/>
                  <a:pt x="1601262" y="147054"/>
                  <a:pt x="1409700" y="124517"/>
                </a:cubicBezTo>
                <a:cubicBezTo>
                  <a:pt x="1137003" y="92435"/>
                  <a:pt x="1601807" y="142747"/>
                  <a:pt x="1285875" y="95942"/>
                </a:cubicBezTo>
                <a:cubicBezTo>
                  <a:pt x="1198417" y="82985"/>
                  <a:pt x="1056111" y="74087"/>
                  <a:pt x="962025" y="67367"/>
                </a:cubicBezTo>
                <a:cubicBezTo>
                  <a:pt x="927100" y="61017"/>
                  <a:pt x="892313" y="53853"/>
                  <a:pt x="857250" y="48317"/>
                </a:cubicBezTo>
                <a:cubicBezTo>
                  <a:pt x="826159" y="43408"/>
                  <a:pt x="723783" y="32429"/>
                  <a:pt x="695325" y="29267"/>
                </a:cubicBezTo>
                <a:cubicBezTo>
                  <a:pt x="631080" y="10911"/>
                  <a:pt x="596823" y="-3361"/>
                  <a:pt x="523875" y="692"/>
                </a:cubicBezTo>
                <a:cubicBezTo>
                  <a:pt x="500796" y="1974"/>
                  <a:pt x="479425" y="13392"/>
                  <a:pt x="457200" y="19742"/>
                </a:cubicBezTo>
                <a:cubicBezTo>
                  <a:pt x="413673" y="85032"/>
                  <a:pt x="467016" y="4036"/>
                  <a:pt x="409575" y="95942"/>
                </a:cubicBezTo>
                <a:cubicBezTo>
                  <a:pt x="387834" y="130727"/>
                  <a:pt x="389213" y="121229"/>
                  <a:pt x="371475" y="162617"/>
                </a:cubicBezTo>
                <a:cubicBezTo>
                  <a:pt x="357716" y="194722"/>
                  <a:pt x="364509" y="193041"/>
                  <a:pt x="352425" y="229292"/>
                </a:cubicBezTo>
                <a:cubicBezTo>
                  <a:pt x="347018" y="245512"/>
                  <a:pt x="339725" y="261042"/>
                  <a:pt x="333375" y="276917"/>
                </a:cubicBezTo>
                <a:cubicBezTo>
                  <a:pt x="330200" y="295967"/>
                  <a:pt x="325872" y="314860"/>
                  <a:pt x="323850" y="334067"/>
                </a:cubicBezTo>
                <a:cubicBezTo>
                  <a:pt x="307381" y="490525"/>
                  <a:pt x="319568" y="463788"/>
                  <a:pt x="304800" y="648392"/>
                </a:cubicBezTo>
                <a:cubicBezTo>
                  <a:pt x="303509" y="664530"/>
                  <a:pt x="297565" y="679990"/>
                  <a:pt x="295275" y="696017"/>
                </a:cubicBezTo>
                <a:cubicBezTo>
                  <a:pt x="291209" y="724479"/>
                  <a:pt x="288519" y="753125"/>
                  <a:pt x="285750" y="781742"/>
                </a:cubicBezTo>
                <a:cubicBezTo>
                  <a:pt x="278994" y="851554"/>
                  <a:pt x="266700" y="991292"/>
                  <a:pt x="266700" y="991292"/>
                </a:cubicBezTo>
                <a:cubicBezTo>
                  <a:pt x="269875" y="1137342"/>
                  <a:pt x="270386" y="1283474"/>
                  <a:pt x="276225" y="1429442"/>
                </a:cubicBezTo>
                <a:cubicBezTo>
                  <a:pt x="276748" y="1442522"/>
                  <a:pt x="283183" y="1454705"/>
                  <a:pt x="285750" y="1467542"/>
                </a:cubicBezTo>
                <a:cubicBezTo>
                  <a:pt x="306429" y="1570935"/>
                  <a:pt x="284369" y="1480376"/>
                  <a:pt x="304800" y="1572317"/>
                </a:cubicBezTo>
                <a:cubicBezTo>
                  <a:pt x="307640" y="1585096"/>
                  <a:pt x="311485" y="1597638"/>
                  <a:pt x="314325" y="1610417"/>
                </a:cubicBezTo>
                <a:cubicBezTo>
                  <a:pt x="323200" y="1650355"/>
                  <a:pt x="326482" y="1673835"/>
                  <a:pt x="333375" y="1715192"/>
                </a:cubicBezTo>
                <a:cubicBezTo>
                  <a:pt x="330200" y="1823142"/>
                  <a:pt x="329381" y="1931187"/>
                  <a:pt x="323850" y="2039042"/>
                </a:cubicBezTo>
                <a:cubicBezTo>
                  <a:pt x="323021" y="2055210"/>
                  <a:pt x="319445" y="2071308"/>
                  <a:pt x="314325" y="2086667"/>
                </a:cubicBezTo>
                <a:cubicBezTo>
                  <a:pt x="309835" y="2100137"/>
                  <a:pt x="301625" y="2112067"/>
                  <a:pt x="295275" y="2124767"/>
                </a:cubicBezTo>
                <a:cubicBezTo>
                  <a:pt x="253316" y="2376522"/>
                  <a:pt x="298319" y="2119074"/>
                  <a:pt x="257175" y="2324792"/>
                </a:cubicBezTo>
                <a:cubicBezTo>
                  <a:pt x="250213" y="2359600"/>
                  <a:pt x="246488" y="2395069"/>
                  <a:pt x="238125" y="2429567"/>
                </a:cubicBezTo>
                <a:cubicBezTo>
                  <a:pt x="221067" y="2499930"/>
                  <a:pt x="213354" y="2574359"/>
                  <a:pt x="180975" y="2639117"/>
                </a:cubicBezTo>
                <a:cubicBezTo>
                  <a:pt x="166278" y="2668511"/>
                  <a:pt x="110368" y="2774737"/>
                  <a:pt x="95250" y="2820092"/>
                </a:cubicBezTo>
                <a:cubicBezTo>
                  <a:pt x="86971" y="2844930"/>
                  <a:pt x="82946" y="2870994"/>
                  <a:pt x="76200" y="2896292"/>
                </a:cubicBezTo>
                <a:cubicBezTo>
                  <a:pt x="30907" y="3066140"/>
                  <a:pt x="75582" y="2889240"/>
                  <a:pt x="47625" y="3001067"/>
                </a:cubicBezTo>
                <a:cubicBezTo>
                  <a:pt x="44450" y="3032817"/>
                  <a:pt x="40864" y="3064529"/>
                  <a:pt x="38100" y="3096317"/>
                </a:cubicBezTo>
                <a:cubicBezTo>
                  <a:pt x="34514" y="3137558"/>
                  <a:pt x="33507" y="3179040"/>
                  <a:pt x="28575" y="3220142"/>
                </a:cubicBezTo>
                <a:cubicBezTo>
                  <a:pt x="23973" y="3258492"/>
                  <a:pt x="15875" y="3296342"/>
                  <a:pt x="9525" y="3334442"/>
                </a:cubicBezTo>
                <a:lnTo>
                  <a:pt x="0" y="3391592"/>
                </a:lnTo>
                <a:cubicBezTo>
                  <a:pt x="6350" y="3451917"/>
                  <a:pt x="-1680" y="3515561"/>
                  <a:pt x="19050" y="3572567"/>
                </a:cubicBezTo>
                <a:cubicBezTo>
                  <a:pt x="26329" y="3592583"/>
                  <a:pt x="55994" y="3594407"/>
                  <a:pt x="76200" y="3601142"/>
                </a:cubicBezTo>
                <a:cubicBezTo>
                  <a:pt x="183209" y="3636812"/>
                  <a:pt x="83605" y="3571507"/>
                  <a:pt x="219075" y="3639242"/>
                </a:cubicBezTo>
                <a:cubicBezTo>
                  <a:pt x="252268" y="3655839"/>
                  <a:pt x="268315" y="3665180"/>
                  <a:pt x="304800" y="3677342"/>
                </a:cubicBezTo>
                <a:cubicBezTo>
                  <a:pt x="326728" y="3684651"/>
                  <a:pt x="349752" y="3688493"/>
                  <a:pt x="371475" y="3696392"/>
                </a:cubicBezTo>
                <a:cubicBezTo>
                  <a:pt x="384819" y="3701244"/>
                  <a:pt x="396105" y="3710952"/>
                  <a:pt x="409575" y="3715442"/>
                </a:cubicBezTo>
                <a:cubicBezTo>
                  <a:pt x="424898" y="3720550"/>
                  <a:pt x="502356" y="3732093"/>
                  <a:pt x="514350" y="3734492"/>
                </a:cubicBezTo>
                <a:cubicBezTo>
                  <a:pt x="651659" y="3761954"/>
                  <a:pt x="432384" y="3721144"/>
                  <a:pt x="600075" y="3763067"/>
                </a:cubicBezTo>
                <a:cubicBezTo>
                  <a:pt x="652056" y="3776062"/>
                  <a:pt x="808630" y="3781331"/>
                  <a:pt x="828675" y="3782117"/>
                </a:cubicBezTo>
                <a:lnTo>
                  <a:pt x="1152525" y="3791642"/>
                </a:lnTo>
                <a:cubicBezTo>
                  <a:pt x="1254282" y="3817081"/>
                  <a:pt x="1142017" y="3791557"/>
                  <a:pt x="1362075" y="3810692"/>
                </a:cubicBezTo>
                <a:cubicBezTo>
                  <a:pt x="1378204" y="3812094"/>
                  <a:pt x="1393825" y="3817042"/>
                  <a:pt x="1409700" y="3820217"/>
                </a:cubicBezTo>
                <a:cubicBezTo>
                  <a:pt x="1441450" y="3817042"/>
                  <a:pt x="1474679" y="3820782"/>
                  <a:pt x="1504950" y="3810692"/>
                </a:cubicBezTo>
                <a:cubicBezTo>
                  <a:pt x="1525123" y="3803968"/>
                  <a:pt x="1524279" y="3766486"/>
                  <a:pt x="1533525" y="3753542"/>
                </a:cubicBezTo>
                <a:cubicBezTo>
                  <a:pt x="1591160" y="3672854"/>
                  <a:pt x="1547635" y="3740960"/>
                  <a:pt x="1600200" y="3705917"/>
                </a:cubicBezTo>
                <a:cubicBezTo>
                  <a:pt x="1602842" y="3704156"/>
                  <a:pt x="1600200" y="3699567"/>
                  <a:pt x="1600200" y="3696392"/>
                </a:cubicBezTo>
              </a:path>
            </a:pathLst>
          </a:cu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Freihandform: Form 20">
            <a:extLst>
              <a:ext uri="{FF2B5EF4-FFF2-40B4-BE49-F238E27FC236}">
                <a16:creationId xmlns:a16="http://schemas.microsoft.com/office/drawing/2014/main" id="{4DCE2786-EA76-06F7-0366-028A6C1A6A3A}"/>
              </a:ext>
            </a:extLst>
          </p:cNvPr>
          <p:cNvSpPr/>
          <p:nvPr/>
        </p:nvSpPr>
        <p:spPr>
          <a:xfrm>
            <a:off x="6553200" y="7696200"/>
            <a:ext cx="1916433" cy="1364874"/>
          </a:xfrm>
          <a:custGeom>
            <a:avLst/>
            <a:gdLst>
              <a:gd name="connsiteX0" fmla="*/ 1638300 w 1916433"/>
              <a:gd name="connsiteY0" fmla="*/ 1352550 h 1364874"/>
              <a:gd name="connsiteX1" fmla="*/ 1571625 w 1916433"/>
              <a:gd name="connsiteY1" fmla="*/ 1343025 h 1364874"/>
              <a:gd name="connsiteX2" fmla="*/ 1143000 w 1916433"/>
              <a:gd name="connsiteY2" fmla="*/ 1333500 h 1364874"/>
              <a:gd name="connsiteX3" fmla="*/ 1019175 w 1916433"/>
              <a:gd name="connsiteY3" fmla="*/ 1304925 h 1364874"/>
              <a:gd name="connsiteX4" fmla="*/ 876300 w 1916433"/>
              <a:gd name="connsiteY4" fmla="*/ 1285875 h 1364874"/>
              <a:gd name="connsiteX5" fmla="*/ 704850 w 1916433"/>
              <a:gd name="connsiteY5" fmla="*/ 1257300 h 1364874"/>
              <a:gd name="connsiteX6" fmla="*/ 314325 w 1916433"/>
              <a:gd name="connsiteY6" fmla="*/ 1162050 h 1364874"/>
              <a:gd name="connsiteX7" fmla="*/ 266700 w 1916433"/>
              <a:gd name="connsiteY7" fmla="*/ 1143000 h 1364874"/>
              <a:gd name="connsiteX8" fmla="*/ 219075 w 1916433"/>
              <a:gd name="connsiteY8" fmla="*/ 1114425 h 1364874"/>
              <a:gd name="connsiteX9" fmla="*/ 180975 w 1916433"/>
              <a:gd name="connsiteY9" fmla="*/ 1095375 h 1364874"/>
              <a:gd name="connsiteX10" fmla="*/ 142875 w 1916433"/>
              <a:gd name="connsiteY10" fmla="*/ 1047750 h 1364874"/>
              <a:gd name="connsiteX11" fmla="*/ 104775 w 1916433"/>
              <a:gd name="connsiteY11" fmla="*/ 990600 h 1364874"/>
              <a:gd name="connsiteX12" fmla="*/ 76200 w 1916433"/>
              <a:gd name="connsiteY12" fmla="*/ 962025 h 1364874"/>
              <a:gd name="connsiteX13" fmla="*/ 28575 w 1916433"/>
              <a:gd name="connsiteY13" fmla="*/ 828675 h 1364874"/>
              <a:gd name="connsiteX14" fmla="*/ 9525 w 1916433"/>
              <a:gd name="connsiteY14" fmla="*/ 685800 h 1364874"/>
              <a:gd name="connsiteX15" fmla="*/ 0 w 1916433"/>
              <a:gd name="connsiteY15" fmla="*/ 609600 h 1364874"/>
              <a:gd name="connsiteX16" fmla="*/ 28575 w 1916433"/>
              <a:gd name="connsiteY16" fmla="*/ 390525 h 1364874"/>
              <a:gd name="connsiteX17" fmla="*/ 66675 w 1916433"/>
              <a:gd name="connsiteY17" fmla="*/ 314325 h 1364874"/>
              <a:gd name="connsiteX18" fmla="*/ 95250 w 1916433"/>
              <a:gd name="connsiteY18" fmla="*/ 247650 h 1364874"/>
              <a:gd name="connsiteX19" fmla="*/ 152400 w 1916433"/>
              <a:gd name="connsiteY19" fmla="*/ 190500 h 1364874"/>
              <a:gd name="connsiteX20" fmla="*/ 209550 w 1916433"/>
              <a:gd name="connsiteY20" fmla="*/ 123825 h 1364874"/>
              <a:gd name="connsiteX21" fmla="*/ 247650 w 1916433"/>
              <a:gd name="connsiteY21" fmla="*/ 104775 h 1364874"/>
              <a:gd name="connsiteX22" fmla="*/ 285750 w 1916433"/>
              <a:gd name="connsiteY22" fmla="*/ 76200 h 1364874"/>
              <a:gd name="connsiteX23" fmla="*/ 342900 w 1916433"/>
              <a:gd name="connsiteY23" fmla="*/ 47625 h 1364874"/>
              <a:gd name="connsiteX24" fmla="*/ 495300 w 1916433"/>
              <a:gd name="connsiteY24" fmla="*/ 0 h 1364874"/>
              <a:gd name="connsiteX25" fmla="*/ 752475 w 1916433"/>
              <a:gd name="connsiteY25" fmla="*/ 9525 h 1364874"/>
              <a:gd name="connsiteX26" fmla="*/ 857250 w 1916433"/>
              <a:gd name="connsiteY26" fmla="*/ 19050 h 1364874"/>
              <a:gd name="connsiteX27" fmla="*/ 1028700 w 1916433"/>
              <a:gd name="connsiteY27" fmla="*/ 28575 h 1364874"/>
              <a:gd name="connsiteX28" fmla="*/ 1209675 w 1916433"/>
              <a:gd name="connsiteY28" fmla="*/ 47625 h 1364874"/>
              <a:gd name="connsiteX29" fmla="*/ 1343025 w 1916433"/>
              <a:gd name="connsiteY29" fmla="*/ 57150 h 1364874"/>
              <a:gd name="connsiteX30" fmla="*/ 1419225 w 1916433"/>
              <a:gd name="connsiteY30" fmla="*/ 76200 h 1364874"/>
              <a:gd name="connsiteX31" fmla="*/ 1476375 w 1916433"/>
              <a:gd name="connsiteY31" fmla="*/ 95250 h 1364874"/>
              <a:gd name="connsiteX32" fmla="*/ 1571625 w 1916433"/>
              <a:gd name="connsiteY32" fmla="*/ 123825 h 1364874"/>
              <a:gd name="connsiteX33" fmla="*/ 1657350 w 1916433"/>
              <a:gd name="connsiteY33" fmla="*/ 171450 h 1364874"/>
              <a:gd name="connsiteX34" fmla="*/ 1695450 w 1916433"/>
              <a:gd name="connsiteY34" fmla="*/ 180975 h 1364874"/>
              <a:gd name="connsiteX35" fmla="*/ 1743075 w 1916433"/>
              <a:gd name="connsiteY35" fmla="*/ 209550 h 1364874"/>
              <a:gd name="connsiteX36" fmla="*/ 1781175 w 1916433"/>
              <a:gd name="connsiteY36" fmla="*/ 228600 h 1364874"/>
              <a:gd name="connsiteX37" fmla="*/ 1847850 w 1916433"/>
              <a:gd name="connsiteY37" fmla="*/ 276225 h 1364874"/>
              <a:gd name="connsiteX38" fmla="*/ 1857375 w 1916433"/>
              <a:gd name="connsiteY38" fmla="*/ 304800 h 1364874"/>
              <a:gd name="connsiteX39" fmla="*/ 1885950 w 1916433"/>
              <a:gd name="connsiteY39" fmla="*/ 333375 h 1364874"/>
              <a:gd name="connsiteX40" fmla="*/ 1895475 w 1916433"/>
              <a:gd name="connsiteY40" fmla="*/ 390525 h 1364874"/>
              <a:gd name="connsiteX41" fmla="*/ 1905000 w 1916433"/>
              <a:gd name="connsiteY41" fmla="*/ 419100 h 1364874"/>
              <a:gd name="connsiteX42" fmla="*/ 1905000 w 1916433"/>
              <a:gd name="connsiteY42" fmla="*/ 714375 h 1364874"/>
              <a:gd name="connsiteX43" fmla="*/ 1895475 w 1916433"/>
              <a:gd name="connsiteY43" fmla="*/ 762000 h 1364874"/>
              <a:gd name="connsiteX44" fmla="*/ 1876425 w 1916433"/>
              <a:gd name="connsiteY44" fmla="*/ 809625 h 1364874"/>
              <a:gd name="connsiteX45" fmla="*/ 1857375 w 1916433"/>
              <a:gd name="connsiteY45" fmla="*/ 914400 h 1364874"/>
              <a:gd name="connsiteX46" fmla="*/ 1819275 w 1916433"/>
              <a:gd name="connsiteY46" fmla="*/ 1009650 h 1364874"/>
              <a:gd name="connsiteX47" fmla="*/ 1800225 w 1916433"/>
              <a:gd name="connsiteY47" fmla="*/ 1047750 h 1364874"/>
              <a:gd name="connsiteX48" fmla="*/ 1781175 w 1916433"/>
              <a:gd name="connsiteY48" fmla="*/ 1114425 h 1364874"/>
              <a:gd name="connsiteX49" fmla="*/ 1752600 w 1916433"/>
              <a:gd name="connsiteY49" fmla="*/ 1152525 h 1364874"/>
              <a:gd name="connsiteX50" fmla="*/ 1714500 w 1916433"/>
              <a:gd name="connsiteY50" fmla="*/ 1238250 h 1364874"/>
              <a:gd name="connsiteX51" fmla="*/ 1666875 w 1916433"/>
              <a:gd name="connsiteY51" fmla="*/ 1323975 h 1364874"/>
              <a:gd name="connsiteX52" fmla="*/ 1638300 w 1916433"/>
              <a:gd name="connsiteY52" fmla="*/ 1352550 h 13648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</a:cxnLst>
            <a:rect l="l" t="t" r="r" b="b"/>
            <a:pathLst>
              <a:path w="1916433" h="1364874">
                <a:moveTo>
                  <a:pt x="1638300" y="1352550"/>
                </a:moveTo>
                <a:cubicBezTo>
                  <a:pt x="1622425" y="1355725"/>
                  <a:pt x="1594059" y="1343888"/>
                  <a:pt x="1571625" y="1343025"/>
                </a:cubicBezTo>
                <a:cubicBezTo>
                  <a:pt x="1428820" y="1337533"/>
                  <a:pt x="1285572" y="1343333"/>
                  <a:pt x="1143000" y="1333500"/>
                </a:cubicBezTo>
                <a:cubicBezTo>
                  <a:pt x="1100741" y="1330586"/>
                  <a:pt x="1060875" y="1312371"/>
                  <a:pt x="1019175" y="1304925"/>
                </a:cubicBezTo>
                <a:cubicBezTo>
                  <a:pt x="971877" y="1296479"/>
                  <a:pt x="923804" y="1293073"/>
                  <a:pt x="876300" y="1285875"/>
                </a:cubicBezTo>
                <a:cubicBezTo>
                  <a:pt x="819015" y="1277196"/>
                  <a:pt x="761502" y="1269440"/>
                  <a:pt x="704850" y="1257300"/>
                </a:cubicBezTo>
                <a:cubicBezTo>
                  <a:pt x="572261" y="1228888"/>
                  <a:pt x="441340" y="1208237"/>
                  <a:pt x="314325" y="1162050"/>
                </a:cubicBezTo>
                <a:cubicBezTo>
                  <a:pt x="298257" y="1156207"/>
                  <a:pt x="281993" y="1150646"/>
                  <a:pt x="266700" y="1143000"/>
                </a:cubicBezTo>
                <a:cubicBezTo>
                  <a:pt x="250141" y="1134721"/>
                  <a:pt x="235259" y="1123416"/>
                  <a:pt x="219075" y="1114425"/>
                </a:cubicBezTo>
                <a:cubicBezTo>
                  <a:pt x="206663" y="1107529"/>
                  <a:pt x="193675" y="1101725"/>
                  <a:pt x="180975" y="1095375"/>
                </a:cubicBezTo>
                <a:cubicBezTo>
                  <a:pt x="168275" y="1079500"/>
                  <a:pt x="154832" y="1064192"/>
                  <a:pt x="142875" y="1047750"/>
                </a:cubicBezTo>
                <a:cubicBezTo>
                  <a:pt x="129409" y="1029234"/>
                  <a:pt x="120964" y="1006789"/>
                  <a:pt x="104775" y="990600"/>
                </a:cubicBezTo>
                <a:lnTo>
                  <a:pt x="76200" y="962025"/>
                </a:lnTo>
                <a:cubicBezTo>
                  <a:pt x="49719" y="900235"/>
                  <a:pt x="43562" y="893621"/>
                  <a:pt x="28575" y="828675"/>
                </a:cubicBezTo>
                <a:cubicBezTo>
                  <a:pt x="19084" y="787549"/>
                  <a:pt x="14095" y="724646"/>
                  <a:pt x="9525" y="685800"/>
                </a:cubicBezTo>
                <a:cubicBezTo>
                  <a:pt x="6534" y="660378"/>
                  <a:pt x="3175" y="635000"/>
                  <a:pt x="0" y="609600"/>
                </a:cubicBezTo>
                <a:cubicBezTo>
                  <a:pt x="5231" y="531142"/>
                  <a:pt x="1260" y="463366"/>
                  <a:pt x="28575" y="390525"/>
                </a:cubicBezTo>
                <a:cubicBezTo>
                  <a:pt x="38546" y="363935"/>
                  <a:pt x="54666" y="340059"/>
                  <a:pt x="66675" y="314325"/>
                </a:cubicBezTo>
                <a:cubicBezTo>
                  <a:pt x="76900" y="292413"/>
                  <a:pt x="81486" y="267531"/>
                  <a:pt x="95250" y="247650"/>
                </a:cubicBezTo>
                <a:cubicBezTo>
                  <a:pt x="110585" y="225500"/>
                  <a:pt x="134127" y="210296"/>
                  <a:pt x="152400" y="190500"/>
                </a:cubicBezTo>
                <a:cubicBezTo>
                  <a:pt x="172255" y="168991"/>
                  <a:pt x="187792" y="143407"/>
                  <a:pt x="209550" y="123825"/>
                </a:cubicBezTo>
                <a:cubicBezTo>
                  <a:pt x="220104" y="114326"/>
                  <a:pt x="235609" y="112300"/>
                  <a:pt x="247650" y="104775"/>
                </a:cubicBezTo>
                <a:cubicBezTo>
                  <a:pt x="261112" y="96361"/>
                  <a:pt x="272137" y="84368"/>
                  <a:pt x="285750" y="76200"/>
                </a:cubicBezTo>
                <a:cubicBezTo>
                  <a:pt x="304013" y="65242"/>
                  <a:pt x="323050" y="55345"/>
                  <a:pt x="342900" y="47625"/>
                </a:cubicBezTo>
                <a:cubicBezTo>
                  <a:pt x="418931" y="18057"/>
                  <a:pt x="434760" y="15135"/>
                  <a:pt x="495300" y="0"/>
                </a:cubicBezTo>
                <a:lnTo>
                  <a:pt x="752475" y="9525"/>
                </a:lnTo>
                <a:cubicBezTo>
                  <a:pt x="787496" y="11368"/>
                  <a:pt x="822264" y="16637"/>
                  <a:pt x="857250" y="19050"/>
                </a:cubicBezTo>
                <a:cubicBezTo>
                  <a:pt x="914352" y="22988"/>
                  <a:pt x="971649" y="23949"/>
                  <a:pt x="1028700" y="28575"/>
                </a:cubicBezTo>
                <a:cubicBezTo>
                  <a:pt x="1089160" y="33477"/>
                  <a:pt x="1149171" y="43303"/>
                  <a:pt x="1209675" y="47625"/>
                </a:cubicBezTo>
                <a:lnTo>
                  <a:pt x="1343025" y="57150"/>
                </a:lnTo>
                <a:cubicBezTo>
                  <a:pt x="1368425" y="63500"/>
                  <a:pt x="1394387" y="67921"/>
                  <a:pt x="1419225" y="76200"/>
                </a:cubicBezTo>
                <a:cubicBezTo>
                  <a:pt x="1438275" y="82550"/>
                  <a:pt x="1457002" y="89966"/>
                  <a:pt x="1476375" y="95250"/>
                </a:cubicBezTo>
                <a:cubicBezTo>
                  <a:pt x="1535267" y="111311"/>
                  <a:pt x="1514776" y="95400"/>
                  <a:pt x="1571625" y="123825"/>
                </a:cubicBezTo>
                <a:cubicBezTo>
                  <a:pt x="1608000" y="142012"/>
                  <a:pt x="1620658" y="157691"/>
                  <a:pt x="1657350" y="171450"/>
                </a:cubicBezTo>
                <a:cubicBezTo>
                  <a:pt x="1669607" y="176047"/>
                  <a:pt x="1682750" y="177800"/>
                  <a:pt x="1695450" y="180975"/>
                </a:cubicBezTo>
                <a:cubicBezTo>
                  <a:pt x="1711325" y="190500"/>
                  <a:pt x="1726891" y="200559"/>
                  <a:pt x="1743075" y="209550"/>
                </a:cubicBezTo>
                <a:cubicBezTo>
                  <a:pt x="1755487" y="216446"/>
                  <a:pt x="1769816" y="220081"/>
                  <a:pt x="1781175" y="228600"/>
                </a:cubicBezTo>
                <a:cubicBezTo>
                  <a:pt x="1853494" y="282839"/>
                  <a:pt x="1787076" y="255967"/>
                  <a:pt x="1847850" y="276225"/>
                </a:cubicBezTo>
                <a:cubicBezTo>
                  <a:pt x="1851025" y="285750"/>
                  <a:pt x="1851806" y="296446"/>
                  <a:pt x="1857375" y="304800"/>
                </a:cubicBezTo>
                <a:cubicBezTo>
                  <a:pt x="1864847" y="316008"/>
                  <a:pt x="1880479" y="321066"/>
                  <a:pt x="1885950" y="333375"/>
                </a:cubicBezTo>
                <a:cubicBezTo>
                  <a:pt x="1893794" y="351023"/>
                  <a:pt x="1891285" y="371672"/>
                  <a:pt x="1895475" y="390525"/>
                </a:cubicBezTo>
                <a:cubicBezTo>
                  <a:pt x="1897653" y="400326"/>
                  <a:pt x="1901825" y="409575"/>
                  <a:pt x="1905000" y="419100"/>
                </a:cubicBezTo>
                <a:cubicBezTo>
                  <a:pt x="1920564" y="559178"/>
                  <a:pt x="1919922" y="512928"/>
                  <a:pt x="1905000" y="714375"/>
                </a:cubicBezTo>
                <a:cubicBezTo>
                  <a:pt x="1903804" y="730520"/>
                  <a:pt x="1900127" y="746493"/>
                  <a:pt x="1895475" y="762000"/>
                </a:cubicBezTo>
                <a:cubicBezTo>
                  <a:pt x="1890562" y="778377"/>
                  <a:pt x="1882775" y="793750"/>
                  <a:pt x="1876425" y="809625"/>
                </a:cubicBezTo>
                <a:cubicBezTo>
                  <a:pt x="1874826" y="819220"/>
                  <a:pt x="1861813" y="901087"/>
                  <a:pt x="1857375" y="914400"/>
                </a:cubicBezTo>
                <a:cubicBezTo>
                  <a:pt x="1846561" y="946841"/>
                  <a:pt x="1831975" y="977900"/>
                  <a:pt x="1819275" y="1009650"/>
                </a:cubicBezTo>
                <a:cubicBezTo>
                  <a:pt x="1814002" y="1022833"/>
                  <a:pt x="1805211" y="1034455"/>
                  <a:pt x="1800225" y="1047750"/>
                </a:cubicBezTo>
                <a:cubicBezTo>
                  <a:pt x="1795164" y="1061247"/>
                  <a:pt x="1789549" y="1099771"/>
                  <a:pt x="1781175" y="1114425"/>
                </a:cubicBezTo>
                <a:cubicBezTo>
                  <a:pt x="1773299" y="1128208"/>
                  <a:pt x="1762125" y="1139825"/>
                  <a:pt x="1752600" y="1152525"/>
                </a:cubicBezTo>
                <a:cubicBezTo>
                  <a:pt x="1736899" y="1231029"/>
                  <a:pt x="1755792" y="1172183"/>
                  <a:pt x="1714500" y="1238250"/>
                </a:cubicBezTo>
                <a:cubicBezTo>
                  <a:pt x="1694790" y="1269787"/>
                  <a:pt x="1692821" y="1294322"/>
                  <a:pt x="1666875" y="1323975"/>
                </a:cubicBezTo>
                <a:cubicBezTo>
                  <a:pt x="1603030" y="1396941"/>
                  <a:pt x="1654175" y="1349375"/>
                  <a:pt x="1638300" y="1352550"/>
                </a:cubicBezTo>
                <a:close/>
              </a:path>
            </a:pathLst>
          </a:cu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Freihandform: Form 21">
            <a:extLst>
              <a:ext uri="{FF2B5EF4-FFF2-40B4-BE49-F238E27FC236}">
                <a16:creationId xmlns:a16="http://schemas.microsoft.com/office/drawing/2014/main" id="{EF761007-4D17-FCAF-8FE3-449D487E6D24}"/>
              </a:ext>
            </a:extLst>
          </p:cNvPr>
          <p:cNvSpPr/>
          <p:nvPr/>
        </p:nvSpPr>
        <p:spPr>
          <a:xfrm>
            <a:off x="7848600" y="7429500"/>
            <a:ext cx="3571875" cy="3695700"/>
          </a:xfrm>
          <a:custGeom>
            <a:avLst/>
            <a:gdLst>
              <a:gd name="connsiteX0" fmla="*/ 85725 w 3571875"/>
              <a:gd name="connsiteY0" fmla="*/ 2305050 h 3695700"/>
              <a:gd name="connsiteX1" fmla="*/ 161925 w 3571875"/>
              <a:gd name="connsiteY1" fmla="*/ 2124075 h 3695700"/>
              <a:gd name="connsiteX2" fmla="*/ 209550 w 3571875"/>
              <a:gd name="connsiteY2" fmla="*/ 2057400 h 3695700"/>
              <a:gd name="connsiteX3" fmla="*/ 247650 w 3571875"/>
              <a:gd name="connsiteY3" fmla="*/ 1971675 h 3695700"/>
              <a:gd name="connsiteX4" fmla="*/ 342900 w 3571875"/>
              <a:gd name="connsiteY4" fmla="*/ 1876425 h 3695700"/>
              <a:gd name="connsiteX5" fmla="*/ 495300 w 3571875"/>
              <a:gd name="connsiteY5" fmla="*/ 1733550 h 3695700"/>
              <a:gd name="connsiteX6" fmla="*/ 542925 w 3571875"/>
              <a:gd name="connsiteY6" fmla="*/ 1704975 h 3695700"/>
              <a:gd name="connsiteX7" fmla="*/ 609600 w 3571875"/>
              <a:gd name="connsiteY7" fmla="*/ 1628775 h 3695700"/>
              <a:gd name="connsiteX8" fmla="*/ 666750 w 3571875"/>
              <a:gd name="connsiteY8" fmla="*/ 1581150 h 3695700"/>
              <a:gd name="connsiteX9" fmla="*/ 781050 w 3571875"/>
              <a:gd name="connsiteY9" fmla="*/ 1428750 h 3695700"/>
              <a:gd name="connsiteX10" fmla="*/ 819150 w 3571875"/>
              <a:gd name="connsiteY10" fmla="*/ 1371600 h 3695700"/>
              <a:gd name="connsiteX11" fmla="*/ 847725 w 3571875"/>
              <a:gd name="connsiteY11" fmla="*/ 1323975 h 3695700"/>
              <a:gd name="connsiteX12" fmla="*/ 885825 w 3571875"/>
              <a:gd name="connsiteY12" fmla="*/ 1285875 h 3695700"/>
              <a:gd name="connsiteX13" fmla="*/ 962025 w 3571875"/>
              <a:gd name="connsiteY13" fmla="*/ 1171575 h 3695700"/>
              <a:gd name="connsiteX14" fmla="*/ 1076325 w 3571875"/>
              <a:gd name="connsiteY14" fmla="*/ 1028700 h 3695700"/>
              <a:gd name="connsiteX15" fmla="*/ 1114425 w 3571875"/>
              <a:gd name="connsiteY15" fmla="*/ 971550 h 3695700"/>
              <a:gd name="connsiteX16" fmla="*/ 1152525 w 3571875"/>
              <a:gd name="connsiteY16" fmla="*/ 923925 h 3695700"/>
              <a:gd name="connsiteX17" fmla="*/ 1238250 w 3571875"/>
              <a:gd name="connsiteY17" fmla="*/ 809625 h 3695700"/>
              <a:gd name="connsiteX18" fmla="*/ 1362075 w 3571875"/>
              <a:gd name="connsiteY18" fmla="*/ 685800 h 3695700"/>
              <a:gd name="connsiteX19" fmla="*/ 1571625 w 3571875"/>
              <a:gd name="connsiteY19" fmla="*/ 485775 h 3695700"/>
              <a:gd name="connsiteX20" fmla="*/ 1752600 w 3571875"/>
              <a:gd name="connsiteY20" fmla="*/ 352425 h 3695700"/>
              <a:gd name="connsiteX21" fmla="*/ 1933575 w 3571875"/>
              <a:gd name="connsiteY21" fmla="*/ 219075 h 3695700"/>
              <a:gd name="connsiteX22" fmla="*/ 1990725 w 3571875"/>
              <a:gd name="connsiteY22" fmla="*/ 190500 h 3695700"/>
              <a:gd name="connsiteX23" fmla="*/ 2181225 w 3571875"/>
              <a:gd name="connsiteY23" fmla="*/ 76200 h 3695700"/>
              <a:gd name="connsiteX24" fmla="*/ 2324100 w 3571875"/>
              <a:gd name="connsiteY24" fmla="*/ 28575 h 3695700"/>
              <a:gd name="connsiteX25" fmla="*/ 2466975 w 3571875"/>
              <a:gd name="connsiteY25" fmla="*/ 0 h 3695700"/>
              <a:gd name="connsiteX26" fmla="*/ 2628900 w 3571875"/>
              <a:gd name="connsiteY26" fmla="*/ 9525 h 3695700"/>
              <a:gd name="connsiteX27" fmla="*/ 2790825 w 3571875"/>
              <a:gd name="connsiteY27" fmla="*/ 76200 h 3695700"/>
              <a:gd name="connsiteX28" fmla="*/ 3295650 w 3571875"/>
              <a:gd name="connsiteY28" fmla="*/ 495300 h 3695700"/>
              <a:gd name="connsiteX29" fmla="*/ 3371850 w 3571875"/>
              <a:gd name="connsiteY29" fmla="*/ 590550 h 3695700"/>
              <a:gd name="connsiteX30" fmla="*/ 3409950 w 3571875"/>
              <a:gd name="connsiteY30" fmla="*/ 628650 h 3695700"/>
              <a:gd name="connsiteX31" fmla="*/ 3467100 w 3571875"/>
              <a:gd name="connsiteY31" fmla="*/ 742950 h 3695700"/>
              <a:gd name="connsiteX32" fmla="*/ 3514725 w 3571875"/>
              <a:gd name="connsiteY32" fmla="*/ 838200 h 3695700"/>
              <a:gd name="connsiteX33" fmla="*/ 3524250 w 3571875"/>
              <a:gd name="connsiteY33" fmla="*/ 876300 h 3695700"/>
              <a:gd name="connsiteX34" fmla="*/ 3552825 w 3571875"/>
              <a:gd name="connsiteY34" fmla="*/ 1047750 h 3695700"/>
              <a:gd name="connsiteX35" fmla="*/ 3571875 w 3571875"/>
              <a:gd name="connsiteY35" fmla="*/ 1209675 h 3695700"/>
              <a:gd name="connsiteX36" fmla="*/ 3552825 w 3571875"/>
              <a:gd name="connsiteY36" fmla="*/ 1438275 h 3695700"/>
              <a:gd name="connsiteX37" fmla="*/ 3467100 w 3571875"/>
              <a:gd name="connsiteY37" fmla="*/ 1552575 h 3695700"/>
              <a:gd name="connsiteX38" fmla="*/ 3238500 w 3571875"/>
              <a:gd name="connsiteY38" fmla="*/ 1800225 h 3695700"/>
              <a:gd name="connsiteX39" fmla="*/ 3162300 w 3571875"/>
              <a:gd name="connsiteY39" fmla="*/ 1885950 h 3695700"/>
              <a:gd name="connsiteX40" fmla="*/ 2867025 w 3571875"/>
              <a:gd name="connsiteY40" fmla="*/ 2200275 h 3695700"/>
              <a:gd name="connsiteX41" fmla="*/ 2619375 w 3571875"/>
              <a:gd name="connsiteY41" fmla="*/ 2438400 h 3695700"/>
              <a:gd name="connsiteX42" fmla="*/ 2495550 w 3571875"/>
              <a:gd name="connsiteY42" fmla="*/ 2543175 h 3695700"/>
              <a:gd name="connsiteX43" fmla="*/ 2390775 w 3571875"/>
              <a:gd name="connsiteY43" fmla="*/ 2667000 h 3695700"/>
              <a:gd name="connsiteX44" fmla="*/ 2352675 w 3571875"/>
              <a:gd name="connsiteY44" fmla="*/ 2695575 h 3695700"/>
              <a:gd name="connsiteX45" fmla="*/ 2314575 w 3571875"/>
              <a:gd name="connsiteY45" fmla="*/ 2762250 h 3695700"/>
              <a:gd name="connsiteX46" fmla="*/ 2266950 w 3571875"/>
              <a:gd name="connsiteY46" fmla="*/ 2819400 h 3695700"/>
              <a:gd name="connsiteX47" fmla="*/ 2124075 w 3571875"/>
              <a:gd name="connsiteY47" fmla="*/ 3048000 h 3695700"/>
              <a:gd name="connsiteX48" fmla="*/ 1857375 w 3571875"/>
              <a:gd name="connsiteY48" fmla="*/ 3400425 h 3695700"/>
              <a:gd name="connsiteX49" fmla="*/ 1762125 w 3571875"/>
              <a:gd name="connsiteY49" fmla="*/ 3514725 h 3695700"/>
              <a:gd name="connsiteX50" fmla="*/ 1638300 w 3571875"/>
              <a:gd name="connsiteY50" fmla="*/ 3638550 h 3695700"/>
              <a:gd name="connsiteX51" fmla="*/ 1352550 w 3571875"/>
              <a:gd name="connsiteY51" fmla="*/ 3695700 h 3695700"/>
              <a:gd name="connsiteX52" fmla="*/ 857250 w 3571875"/>
              <a:gd name="connsiteY52" fmla="*/ 3571875 h 3695700"/>
              <a:gd name="connsiteX53" fmla="*/ 685800 w 3571875"/>
              <a:gd name="connsiteY53" fmla="*/ 3448050 h 3695700"/>
              <a:gd name="connsiteX54" fmla="*/ 590550 w 3571875"/>
              <a:gd name="connsiteY54" fmla="*/ 3381375 h 3695700"/>
              <a:gd name="connsiteX55" fmla="*/ 390525 w 3571875"/>
              <a:gd name="connsiteY55" fmla="*/ 3143250 h 3695700"/>
              <a:gd name="connsiteX56" fmla="*/ 333375 w 3571875"/>
              <a:gd name="connsiteY56" fmla="*/ 3048000 h 3695700"/>
              <a:gd name="connsiteX57" fmla="*/ 104775 w 3571875"/>
              <a:gd name="connsiteY57" fmla="*/ 2705100 h 3695700"/>
              <a:gd name="connsiteX58" fmla="*/ 0 w 3571875"/>
              <a:gd name="connsiteY58" fmla="*/ 2505075 h 3695700"/>
              <a:gd name="connsiteX59" fmla="*/ 95250 w 3571875"/>
              <a:gd name="connsiteY59" fmla="*/ 2247900 h 3695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</a:cxnLst>
            <a:rect l="l" t="t" r="r" b="b"/>
            <a:pathLst>
              <a:path w="3571875" h="3695700">
                <a:moveTo>
                  <a:pt x="85725" y="2305050"/>
                </a:moveTo>
                <a:cubicBezTo>
                  <a:pt x="106014" y="2234037"/>
                  <a:pt x="113720" y="2191562"/>
                  <a:pt x="161925" y="2124075"/>
                </a:cubicBezTo>
                <a:cubicBezTo>
                  <a:pt x="177800" y="2101850"/>
                  <a:pt x="196160" y="2081205"/>
                  <a:pt x="209550" y="2057400"/>
                </a:cubicBezTo>
                <a:cubicBezTo>
                  <a:pt x="224881" y="2030146"/>
                  <a:pt x="232136" y="1998825"/>
                  <a:pt x="247650" y="1971675"/>
                </a:cubicBezTo>
                <a:cubicBezTo>
                  <a:pt x="275910" y="1922219"/>
                  <a:pt x="301029" y="1915679"/>
                  <a:pt x="342900" y="1876425"/>
                </a:cubicBezTo>
                <a:cubicBezTo>
                  <a:pt x="405497" y="1817740"/>
                  <a:pt x="431373" y="1780042"/>
                  <a:pt x="495300" y="1733550"/>
                </a:cubicBezTo>
                <a:cubicBezTo>
                  <a:pt x="510272" y="1722661"/>
                  <a:pt x="527050" y="1714500"/>
                  <a:pt x="542925" y="1704975"/>
                </a:cubicBezTo>
                <a:cubicBezTo>
                  <a:pt x="570057" y="1664276"/>
                  <a:pt x="562453" y="1671636"/>
                  <a:pt x="609600" y="1628775"/>
                </a:cubicBezTo>
                <a:cubicBezTo>
                  <a:pt x="627949" y="1612094"/>
                  <a:pt x="650612" y="1599978"/>
                  <a:pt x="666750" y="1581150"/>
                </a:cubicBezTo>
                <a:cubicBezTo>
                  <a:pt x="708075" y="1532937"/>
                  <a:pt x="745827" y="1481585"/>
                  <a:pt x="781050" y="1428750"/>
                </a:cubicBezTo>
                <a:cubicBezTo>
                  <a:pt x="793750" y="1409700"/>
                  <a:pt x="806858" y="1390916"/>
                  <a:pt x="819150" y="1371600"/>
                </a:cubicBezTo>
                <a:cubicBezTo>
                  <a:pt x="829089" y="1355981"/>
                  <a:pt x="836359" y="1338588"/>
                  <a:pt x="847725" y="1323975"/>
                </a:cubicBezTo>
                <a:cubicBezTo>
                  <a:pt x="858752" y="1309798"/>
                  <a:pt x="875049" y="1300243"/>
                  <a:pt x="885825" y="1285875"/>
                </a:cubicBezTo>
                <a:cubicBezTo>
                  <a:pt x="913299" y="1249243"/>
                  <a:pt x="935766" y="1209088"/>
                  <a:pt x="962025" y="1171575"/>
                </a:cubicBezTo>
                <a:cubicBezTo>
                  <a:pt x="1068921" y="1018867"/>
                  <a:pt x="968842" y="1168428"/>
                  <a:pt x="1076325" y="1028700"/>
                </a:cubicBezTo>
                <a:cubicBezTo>
                  <a:pt x="1090284" y="1010553"/>
                  <a:pt x="1100959" y="990066"/>
                  <a:pt x="1114425" y="971550"/>
                </a:cubicBezTo>
                <a:cubicBezTo>
                  <a:pt x="1126382" y="955108"/>
                  <a:pt x="1140327" y="940189"/>
                  <a:pt x="1152525" y="923925"/>
                </a:cubicBezTo>
                <a:cubicBezTo>
                  <a:pt x="1174792" y="894236"/>
                  <a:pt x="1210759" y="838733"/>
                  <a:pt x="1238250" y="809625"/>
                </a:cubicBezTo>
                <a:cubicBezTo>
                  <a:pt x="1278329" y="767188"/>
                  <a:pt x="1320800" y="727075"/>
                  <a:pt x="1362075" y="685800"/>
                </a:cubicBezTo>
                <a:cubicBezTo>
                  <a:pt x="1400765" y="647110"/>
                  <a:pt x="1520211" y="523659"/>
                  <a:pt x="1571625" y="485775"/>
                </a:cubicBezTo>
                <a:lnTo>
                  <a:pt x="1752600" y="352425"/>
                </a:lnTo>
                <a:cubicBezTo>
                  <a:pt x="1824762" y="298303"/>
                  <a:pt x="1855940" y="267597"/>
                  <a:pt x="1933575" y="219075"/>
                </a:cubicBezTo>
                <a:cubicBezTo>
                  <a:pt x="1951636" y="207787"/>
                  <a:pt x="1972328" y="201232"/>
                  <a:pt x="1990725" y="190500"/>
                </a:cubicBezTo>
                <a:cubicBezTo>
                  <a:pt x="2087668" y="133950"/>
                  <a:pt x="2034266" y="141515"/>
                  <a:pt x="2181225" y="76200"/>
                </a:cubicBezTo>
                <a:cubicBezTo>
                  <a:pt x="2297955" y="24320"/>
                  <a:pt x="2227856" y="46907"/>
                  <a:pt x="2324100" y="28575"/>
                </a:cubicBezTo>
                <a:lnTo>
                  <a:pt x="2466975" y="0"/>
                </a:lnTo>
                <a:cubicBezTo>
                  <a:pt x="2520950" y="3175"/>
                  <a:pt x="2575075" y="4399"/>
                  <a:pt x="2628900" y="9525"/>
                </a:cubicBezTo>
                <a:cubicBezTo>
                  <a:pt x="2674427" y="13861"/>
                  <a:pt x="2782470" y="69870"/>
                  <a:pt x="2790825" y="76200"/>
                </a:cubicBezTo>
                <a:cubicBezTo>
                  <a:pt x="2965154" y="208268"/>
                  <a:pt x="3131891" y="350333"/>
                  <a:pt x="3295650" y="495300"/>
                </a:cubicBezTo>
                <a:cubicBezTo>
                  <a:pt x="3326095" y="522251"/>
                  <a:pt x="3345389" y="559679"/>
                  <a:pt x="3371850" y="590550"/>
                </a:cubicBezTo>
                <a:cubicBezTo>
                  <a:pt x="3383539" y="604187"/>
                  <a:pt x="3400431" y="613420"/>
                  <a:pt x="3409950" y="628650"/>
                </a:cubicBezTo>
                <a:cubicBezTo>
                  <a:pt x="3432526" y="664772"/>
                  <a:pt x="3445184" y="706423"/>
                  <a:pt x="3467100" y="742950"/>
                </a:cubicBezTo>
                <a:cubicBezTo>
                  <a:pt x="3493945" y="787691"/>
                  <a:pt x="3498521" y="789589"/>
                  <a:pt x="3514725" y="838200"/>
                </a:cubicBezTo>
                <a:cubicBezTo>
                  <a:pt x="3518865" y="850619"/>
                  <a:pt x="3521908" y="863420"/>
                  <a:pt x="3524250" y="876300"/>
                </a:cubicBezTo>
                <a:cubicBezTo>
                  <a:pt x="3534614" y="933304"/>
                  <a:pt x="3547060" y="990099"/>
                  <a:pt x="3552825" y="1047750"/>
                </a:cubicBezTo>
                <a:cubicBezTo>
                  <a:pt x="3564584" y="1165339"/>
                  <a:pt x="3557837" y="1111412"/>
                  <a:pt x="3571875" y="1209675"/>
                </a:cubicBezTo>
                <a:cubicBezTo>
                  <a:pt x="3565525" y="1285875"/>
                  <a:pt x="3575169" y="1365148"/>
                  <a:pt x="3552825" y="1438275"/>
                </a:cubicBezTo>
                <a:cubicBezTo>
                  <a:pt x="3538908" y="1483821"/>
                  <a:pt x="3498327" y="1516617"/>
                  <a:pt x="3467100" y="1552575"/>
                </a:cubicBezTo>
                <a:cubicBezTo>
                  <a:pt x="3393438" y="1637398"/>
                  <a:pt x="3314306" y="1717313"/>
                  <a:pt x="3238500" y="1800225"/>
                </a:cubicBezTo>
                <a:cubicBezTo>
                  <a:pt x="3212702" y="1828441"/>
                  <a:pt x="3189334" y="1858916"/>
                  <a:pt x="3162300" y="1885950"/>
                </a:cubicBezTo>
                <a:cubicBezTo>
                  <a:pt x="2920541" y="2127709"/>
                  <a:pt x="3224984" y="1819944"/>
                  <a:pt x="2867025" y="2200275"/>
                </a:cubicBezTo>
                <a:cubicBezTo>
                  <a:pt x="2801514" y="2269881"/>
                  <a:pt x="2688998" y="2376513"/>
                  <a:pt x="2619375" y="2438400"/>
                </a:cubicBezTo>
                <a:cubicBezTo>
                  <a:pt x="2578964" y="2474321"/>
                  <a:pt x="2530475" y="2501900"/>
                  <a:pt x="2495550" y="2543175"/>
                </a:cubicBezTo>
                <a:cubicBezTo>
                  <a:pt x="2460625" y="2584450"/>
                  <a:pt x="2427755" y="2627555"/>
                  <a:pt x="2390775" y="2667000"/>
                </a:cubicBezTo>
                <a:cubicBezTo>
                  <a:pt x="2379917" y="2678581"/>
                  <a:pt x="2363900" y="2684350"/>
                  <a:pt x="2352675" y="2695575"/>
                </a:cubicBezTo>
                <a:cubicBezTo>
                  <a:pt x="2331181" y="2717069"/>
                  <a:pt x="2332006" y="2737348"/>
                  <a:pt x="2314575" y="2762250"/>
                </a:cubicBezTo>
                <a:cubicBezTo>
                  <a:pt x="2300355" y="2782565"/>
                  <a:pt x="2280705" y="2798767"/>
                  <a:pt x="2266950" y="2819400"/>
                </a:cubicBezTo>
                <a:cubicBezTo>
                  <a:pt x="2217105" y="2894167"/>
                  <a:pt x="2177093" y="2975449"/>
                  <a:pt x="2124075" y="3048000"/>
                </a:cubicBezTo>
                <a:cubicBezTo>
                  <a:pt x="1895307" y="3361051"/>
                  <a:pt x="2017187" y="3203733"/>
                  <a:pt x="1857375" y="3400425"/>
                </a:cubicBezTo>
                <a:cubicBezTo>
                  <a:pt x="1795039" y="3477146"/>
                  <a:pt x="1841072" y="3423632"/>
                  <a:pt x="1762125" y="3514725"/>
                </a:cubicBezTo>
                <a:cubicBezTo>
                  <a:pt x="1728405" y="3553633"/>
                  <a:pt x="1685168" y="3610429"/>
                  <a:pt x="1638300" y="3638550"/>
                </a:cubicBezTo>
                <a:cubicBezTo>
                  <a:pt x="1536651" y="3699539"/>
                  <a:pt x="1486720" y="3682922"/>
                  <a:pt x="1352550" y="3695700"/>
                </a:cubicBezTo>
                <a:cubicBezTo>
                  <a:pt x="1088331" y="3656556"/>
                  <a:pt x="1102533" y="3675934"/>
                  <a:pt x="857250" y="3571875"/>
                </a:cubicBezTo>
                <a:cubicBezTo>
                  <a:pt x="801365" y="3548166"/>
                  <a:pt x="730057" y="3481243"/>
                  <a:pt x="685800" y="3448050"/>
                </a:cubicBezTo>
                <a:cubicBezTo>
                  <a:pt x="654795" y="3424797"/>
                  <a:pt x="619357" y="3407301"/>
                  <a:pt x="590550" y="3381375"/>
                </a:cubicBezTo>
                <a:cubicBezTo>
                  <a:pt x="539742" y="3335648"/>
                  <a:pt x="425693" y="3192899"/>
                  <a:pt x="390525" y="3143250"/>
                </a:cubicBezTo>
                <a:cubicBezTo>
                  <a:pt x="369123" y="3113035"/>
                  <a:pt x="353914" y="3078808"/>
                  <a:pt x="333375" y="3048000"/>
                </a:cubicBezTo>
                <a:cubicBezTo>
                  <a:pt x="253213" y="2927757"/>
                  <a:pt x="173448" y="2831001"/>
                  <a:pt x="104775" y="2705100"/>
                </a:cubicBezTo>
                <a:cubicBezTo>
                  <a:pt x="-26578" y="2464287"/>
                  <a:pt x="77245" y="2608069"/>
                  <a:pt x="0" y="2505075"/>
                </a:cubicBezTo>
                <a:cubicBezTo>
                  <a:pt x="88130" y="2260270"/>
                  <a:pt x="47997" y="2342406"/>
                  <a:pt x="95250" y="2247900"/>
                </a:cubicBezTo>
              </a:path>
            </a:pathLst>
          </a:cu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Freihandform: Form 23">
            <a:extLst>
              <a:ext uri="{FF2B5EF4-FFF2-40B4-BE49-F238E27FC236}">
                <a16:creationId xmlns:a16="http://schemas.microsoft.com/office/drawing/2014/main" id="{E84A4F86-C57E-6174-2860-40D2C77A15AC}"/>
              </a:ext>
            </a:extLst>
          </p:cNvPr>
          <p:cNvSpPr/>
          <p:nvPr/>
        </p:nvSpPr>
        <p:spPr>
          <a:xfrm>
            <a:off x="2494550" y="3743325"/>
            <a:ext cx="2306050" cy="4029075"/>
          </a:xfrm>
          <a:custGeom>
            <a:avLst/>
            <a:gdLst>
              <a:gd name="connsiteX0" fmla="*/ 810625 w 2306050"/>
              <a:gd name="connsiteY0" fmla="*/ 3914775 h 4029075"/>
              <a:gd name="connsiteX1" fmla="*/ 667750 w 2306050"/>
              <a:gd name="connsiteY1" fmla="*/ 3705225 h 4029075"/>
              <a:gd name="connsiteX2" fmla="*/ 534400 w 2306050"/>
              <a:gd name="connsiteY2" fmla="*/ 3429000 h 4029075"/>
              <a:gd name="connsiteX3" fmla="*/ 496300 w 2306050"/>
              <a:gd name="connsiteY3" fmla="*/ 3286125 h 4029075"/>
              <a:gd name="connsiteX4" fmla="*/ 458200 w 2306050"/>
              <a:gd name="connsiteY4" fmla="*/ 3162300 h 4029075"/>
              <a:gd name="connsiteX5" fmla="*/ 429625 w 2306050"/>
              <a:gd name="connsiteY5" fmla="*/ 3038475 h 4029075"/>
              <a:gd name="connsiteX6" fmla="*/ 420100 w 2306050"/>
              <a:gd name="connsiteY6" fmla="*/ 2924175 h 4029075"/>
              <a:gd name="connsiteX7" fmla="*/ 362950 w 2306050"/>
              <a:gd name="connsiteY7" fmla="*/ 2647950 h 4029075"/>
              <a:gd name="connsiteX8" fmla="*/ 353425 w 2306050"/>
              <a:gd name="connsiteY8" fmla="*/ 2543175 h 4029075"/>
              <a:gd name="connsiteX9" fmla="*/ 334375 w 2306050"/>
              <a:gd name="connsiteY9" fmla="*/ 2428875 h 4029075"/>
              <a:gd name="connsiteX10" fmla="*/ 277225 w 2306050"/>
              <a:gd name="connsiteY10" fmla="*/ 2009775 h 4029075"/>
              <a:gd name="connsiteX11" fmla="*/ 267700 w 2306050"/>
              <a:gd name="connsiteY11" fmla="*/ 1876425 h 4029075"/>
              <a:gd name="connsiteX12" fmla="*/ 248650 w 2306050"/>
              <a:gd name="connsiteY12" fmla="*/ 1733550 h 4029075"/>
              <a:gd name="connsiteX13" fmla="*/ 239125 w 2306050"/>
              <a:gd name="connsiteY13" fmla="*/ 1590675 h 4029075"/>
              <a:gd name="connsiteX14" fmla="*/ 201025 w 2306050"/>
              <a:gd name="connsiteY14" fmla="*/ 1200150 h 4029075"/>
              <a:gd name="connsiteX15" fmla="*/ 181975 w 2306050"/>
              <a:gd name="connsiteY15" fmla="*/ 952500 h 4029075"/>
              <a:gd name="connsiteX16" fmla="*/ 162925 w 2306050"/>
              <a:gd name="connsiteY16" fmla="*/ 904875 h 4029075"/>
              <a:gd name="connsiteX17" fmla="*/ 153400 w 2306050"/>
              <a:gd name="connsiteY17" fmla="*/ 866775 h 4029075"/>
              <a:gd name="connsiteX18" fmla="*/ 124825 w 2306050"/>
              <a:gd name="connsiteY18" fmla="*/ 819150 h 4029075"/>
              <a:gd name="connsiteX19" fmla="*/ 105775 w 2306050"/>
              <a:gd name="connsiteY19" fmla="*/ 771525 h 4029075"/>
              <a:gd name="connsiteX20" fmla="*/ 67675 w 2306050"/>
              <a:gd name="connsiteY20" fmla="*/ 695325 h 4029075"/>
              <a:gd name="connsiteX21" fmla="*/ 48625 w 2306050"/>
              <a:gd name="connsiteY21" fmla="*/ 657225 h 4029075"/>
              <a:gd name="connsiteX22" fmla="*/ 10525 w 2306050"/>
              <a:gd name="connsiteY22" fmla="*/ 542925 h 4029075"/>
              <a:gd name="connsiteX23" fmla="*/ 29575 w 2306050"/>
              <a:gd name="connsiteY23" fmla="*/ 323850 h 4029075"/>
              <a:gd name="connsiteX24" fmla="*/ 86725 w 2306050"/>
              <a:gd name="connsiteY24" fmla="*/ 266700 h 4029075"/>
              <a:gd name="connsiteX25" fmla="*/ 286750 w 2306050"/>
              <a:gd name="connsiteY25" fmla="*/ 180975 h 4029075"/>
              <a:gd name="connsiteX26" fmla="*/ 401050 w 2306050"/>
              <a:gd name="connsiteY26" fmla="*/ 152400 h 4029075"/>
              <a:gd name="connsiteX27" fmla="*/ 496300 w 2306050"/>
              <a:gd name="connsiteY27" fmla="*/ 123825 h 4029075"/>
              <a:gd name="connsiteX28" fmla="*/ 591550 w 2306050"/>
              <a:gd name="connsiteY28" fmla="*/ 114300 h 4029075"/>
              <a:gd name="connsiteX29" fmla="*/ 667750 w 2306050"/>
              <a:gd name="connsiteY29" fmla="*/ 104775 h 4029075"/>
              <a:gd name="connsiteX30" fmla="*/ 820150 w 2306050"/>
              <a:gd name="connsiteY30" fmla="*/ 66675 h 4029075"/>
              <a:gd name="connsiteX31" fmla="*/ 1029700 w 2306050"/>
              <a:gd name="connsiteY31" fmla="*/ 38100 h 4029075"/>
              <a:gd name="connsiteX32" fmla="*/ 1086850 w 2306050"/>
              <a:gd name="connsiteY32" fmla="*/ 28575 h 4029075"/>
              <a:gd name="connsiteX33" fmla="*/ 1191625 w 2306050"/>
              <a:gd name="connsiteY33" fmla="*/ 19050 h 4029075"/>
              <a:gd name="connsiteX34" fmla="*/ 1258300 w 2306050"/>
              <a:gd name="connsiteY34" fmla="*/ 9525 h 4029075"/>
              <a:gd name="connsiteX35" fmla="*/ 1344025 w 2306050"/>
              <a:gd name="connsiteY35" fmla="*/ 0 h 4029075"/>
              <a:gd name="connsiteX36" fmla="*/ 1629775 w 2306050"/>
              <a:gd name="connsiteY36" fmla="*/ 9525 h 4029075"/>
              <a:gd name="connsiteX37" fmla="*/ 1705975 w 2306050"/>
              <a:gd name="connsiteY37" fmla="*/ 76200 h 4029075"/>
              <a:gd name="connsiteX38" fmla="*/ 1763125 w 2306050"/>
              <a:gd name="connsiteY38" fmla="*/ 123825 h 4029075"/>
              <a:gd name="connsiteX39" fmla="*/ 1839325 w 2306050"/>
              <a:gd name="connsiteY39" fmla="*/ 209550 h 4029075"/>
              <a:gd name="connsiteX40" fmla="*/ 1867900 w 2306050"/>
              <a:gd name="connsiteY40" fmla="*/ 247650 h 4029075"/>
              <a:gd name="connsiteX41" fmla="*/ 1906000 w 2306050"/>
              <a:gd name="connsiteY41" fmla="*/ 342900 h 4029075"/>
              <a:gd name="connsiteX42" fmla="*/ 1915525 w 2306050"/>
              <a:gd name="connsiteY42" fmla="*/ 419100 h 4029075"/>
              <a:gd name="connsiteX43" fmla="*/ 1925050 w 2306050"/>
              <a:gd name="connsiteY43" fmla="*/ 476250 h 4029075"/>
              <a:gd name="connsiteX44" fmla="*/ 1944100 w 2306050"/>
              <a:gd name="connsiteY44" fmla="*/ 1381125 h 4029075"/>
              <a:gd name="connsiteX45" fmla="*/ 1982200 w 2306050"/>
              <a:gd name="connsiteY45" fmla="*/ 1590675 h 4029075"/>
              <a:gd name="connsiteX46" fmla="*/ 2001250 w 2306050"/>
              <a:gd name="connsiteY46" fmla="*/ 1685925 h 4029075"/>
              <a:gd name="connsiteX47" fmla="*/ 2077450 w 2306050"/>
              <a:gd name="connsiteY47" fmla="*/ 1905000 h 4029075"/>
              <a:gd name="connsiteX48" fmla="*/ 2106025 w 2306050"/>
              <a:gd name="connsiteY48" fmla="*/ 2019300 h 4029075"/>
              <a:gd name="connsiteX49" fmla="*/ 2163175 w 2306050"/>
              <a:gd name="connsiteY49" fmla="*/ 2295525 h 4029075"/>
              <a:gd name="connsiteX50" fmla="*/ 2220325 w 2306050"/>
              <a:gd name="connsiteY50" fmla="*/ 2524125 h 4029075"/>
              <a:gd name="connsiteX51" fmla="*/ 2258425 w 2306050"/>
              <a:gd name="connsiteY51" fmla="*/ 2667000 h 4029075"/>
              <a:gd name="connsiteX52" fmla="*/ 2287000 w 2306050"/>
              <a:gd name="connsiteY52" fmla="*/ 2876550 h 4029075"/>
              <a:gd name="connsiteX53" fmla="*/ 2306050 w 2306050"/>
              <a:gd name="connsiteY53" fmla="*/ 3028950 h 4029075"/>
              <a:gd name="connsiteX54" fmla="*/ 2296525 w 2306050"/>
              <a:gd name="connsiteY54" fmla="*/ 3409950 h 4029075"/>
              <a:gd name="connsiteX55" fmla="*/ 2277475 w 2306050"/>
              <a:gd name="connsiteY55" fmla="*/ 3457575 h 4029075"/>
              <a:gd name="connsiteX56" fmla="*/ 2267950 w 2306050"/>
              <a:gd name="connsiteY56" fmla="*/ 3514725 h 4029075"/>
              <a:gd name="connsiteX57" fmla="*/ 2229850 w 2306050"/>
              <a:gd name="connsiteY57" fmla="*/ 3571875 h 4029075"/>
              <a:gd name="connsiteX58" fmla="*/ 2115550 w 2306050"/>
              <a:gd name="connsiteY58" fmla="*/ 3695700 h 4029075"/>
              <a:gd name="connsiteX59" fmla="*/ 2039350 w 2306050"/>
              <a:gd name="connsiteY59" fmla="*/ 3781425 h 4029075"/>
              <a:gd name="connsiteX60" fmla="*/ 1953625 w 2306050"/>
              <a:gd name="connsiteY60" fmla="*/ 3819525 h 4029075"/>
              <a:gd name="connsiteX61" fmla="*/ 1848850 w 2306050"/>
              <a:gd name="connsiteY61" fmla="*/ 3886200 h 4029075"/>
              <a:gd name="connsiteX62" fmla="*/ 1696450 w 2306050"/>
              <a:gd name="connsiteY62" fmla="*/ 3924300 h 4029075"/>
              <a:gd name="connsiteX63" fmla="*/ 1648825 w 2306050"/>
              <a:gd name="connsiteY63" fmla="*/ 3933825 h 4029075"/>
              <a:gd name="connsiteX64" fmla="*/ 1505950 w 2306050"/>
              <a:gd name="connsiteY64" fmla="*/ 3943350 h 4029075"/>
              <a:gd name="connsiteX65" fmla="*/ 1391650 w 2306050"/>
              <a:gd name="connsiteY65" fmla="*/ 3971925 h 4029075"/>
              <a:gd name="connsiteX66" fmla="*/ 1315450 w 2306050"/>
              <a:gd name="connsiteY66" fmla="*/ 3990975 h 4029075"/>
              <a:gd name="connsiteX67" fmla="*/ 1201150 w 2306050"/>
              <a:gd name="connsiteY67" fmla="*/ 4010025 h 4029075"/>
              <a:gd name="connsiteX68" fmla="*/ 1105900 w 2306050"/>
              <a:gd name="connsiteY68" fmla="*/ 4029075 h 4029075"/>
              <a:gd name="connsiteX69" fmla="*/ 886825 w 2306050"/>
              <a:gd name="connsiteY69" fmla="*/ 4019550 h 4029075"/>
              <a:gd name="connsiteX70" fmla="*/ 858250 w 2306050"/>
              <a:gd name="connsiteY70" fmla="*/ 3990975 h 4029075"/>
              <a:gd name="connsiteX71" fmla="*/ 820150 w 2306050"/>
              <a:gd name="connsiteY71" fmla="*/ 3971925 h 4029075"/>
              <a:gd name="connsiteX72" fmla="*/ 810625 w 2306050"/>
              <a:gd name="connsiteY72" fmla="*/ 3943350 h 4029075"/>
              <a:gd name="connsiteX73" fmla="*/ 810625 w 2306050"/>
              <a:gd name="connsiteY73" fmla="*/ 3914775 h 40290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</a:cxnLst>
            <a:rect l="l" t="t" r="r" b="b"/>
            <a:pathLst>
              <a:path w="2306050" h="4029075">
                <a:moveTo>
                  <a:pt x="810625" y="3914775"/>
                </a:moveTo>
                <a:cubicBezTo>
                  <a:pt x="786812" y="3875087"/>
                  <a:pt x="748196" y="3862618"/>
                  <a:pt x="667750" y="3705225"/>
                </a:cubicBezTo>
                <a:cubicBezTo>
                  <a:pt x="621218" y="3614184"/>
                  <a:pt x="560744" y="3527791"/>
                  <a:pt x="534400" y="3429000"/>
                </a:cubicBezTo>
                <a:cubicBezTo>
                  <a:pt x="521700" y="3381375"/>
                  <a:pt x="509841" y="3333518"/>
                  <a:pt x="496300" y="3286125"/>
                </a:cubicBezTo>
                <a:cubicBezTo>
                  <a:pt x="484436" y="3244602"/>
                  <a:pt x="469427" y="3204000"/>
                  <a:pt x="458200" y="3162300"/>
                </a:cubicBezTo>
                <a:cubicBezTo>
                  <a:pt x="447188" y="3121397"/>
                  <a:pt x="439150" y="3079750"/>
                  <a:pt x="429625" y="3038475"/>
                </a:cubicBezTo>
                <a:cubicBezTo>
                  <a:pt x="426450" y="3000375"/>
                  <a:pt x="425771" y="2961984"/>
                  <a:pt x="420100" y="2924175"/>
                </a:cubicBezTo>
                <a:cubicBezTo>
                  <a:pt x="384744" y="2688467"/>
                  <a:pt x="405546" y="3116502"/>
                  <a:pt x="362950" y="2647950"/>
                </a:cubicBezTo>
                <a:cubicBezTo>
                  <a:pt x="359775" y="2613025"/>
                  <a:pt x="357961" y="2577949"/>
                  <a:pt x="353425" y="2543175"/>
                </a:cubicBezTo>
                <a:cubicBezTo>
                  <a:pt x="348429" y="2504874"/>
                  <a:pt x="340105" y="2467073"/>
                  <a:pt x="334375" y="2428875"/>
                </a:cubicBezTo>
                <a:cubicBezTo>
                  <a:pt x="325342" y="2368652"/>
                  <a:pt x="286716" y="2104682"/>
                  <a:pt x="277225" y="2009775"/>
                </a:cubicBezTo>
                <a:cubicBezTo>
                  <a:pt x="272791" y="1965433"/>
                  <a:pt x="272286" y="1920752"/>
                  <a:pt x="267700" y="1876425"/>
                </a:cubicBezTo>
                <a:cubicBezTo>
                  <a:pt x="262756" y="1828634"/>
                  <a:pt x="253431" y="1781358"/>
                  <a:pt x="248650" y="1733550"/>
                </a:cubicBezTo>
                <a:cubicBezTo>
                  <a:pt x="243901" y="1686056"/>
                  <a:pt x="243370" y="1638217"/>
                  <a:pt x="239125" y="1590675"/>
                </a:cubicBezTo>
                <a:cubicBezTo>
                  <a:pt x="227493" y="1460400"/>
                  <a:pt x="208280" y="1330742"/>
                  <a:pt x="201025" y="1200150"/>
                </a:cubicBezTo>
                <a:cubicBezTo>
                  <a:pt x="200053" y="1182663"/>
                  <a:pt x="194139" y="1005212"/>
                  <a:pt x="181975" y="952500"/>
                </a:cubicBezTo>
                <a:cubicBezTo>
                  <a:pt x="178130" y="935840"/>
                  <a:pt x="168332" y="921095"/>
                  <a:pt x="162925" y="904875"/>
                </a:cubicBezTo>
                <a:cubicBezTo>
                  <a:pt x="158785" y="892456"/>
                  <a:pt x="158717" y="878738"/>
                  <a:pt x="153400" y="866775"/>
                </a:cubicBezTo>
                <a:cubicBezTo>
                  <a:pt x="145881" y="849857"/>
                  <a:pt x="133104" y="835709"/>
                  <a:pt x="124825" y="819150"/>
                </a:cubicBezTo>
                <a:cubicBezTo>
                  <a:pt x="117179" y="803857"/>
                  <a:pt x="112940" y="787049"/>
                  <a:pt x="105775" y="771525"/>
                </a:cubicBezTo>
                <a:cubicBezTo>
                  <a:pt x="93875" y="745741"/>
                  <a:pt x="80375" y="720725"/>
                  <a:pt x="67675" y="695325"/>
                </a:cubicBezTo>
                <a:cubicBezTo>
                  <a:pt x="61325" y="682625"/>
                  <a:pt x="53898" y="670408"/>
                  <a:pt x="48625" y="657225"/>
                </a:cubicBezTo>
                <a:cubicBezTo>
                  <a:pt x="20991" y="588139"/>
                  <a:pt x="34272" y="626040"/>
                  <a:pt x="10525" y="542925"/>
                </a:cubicBezTo>
                <a:cubicBezTo>
                  <a:pt x="-455" y="455087"/>
                  <a:pt x="-12690" y="422468"/>
                  <a:pt x="29575" y="323850"/>
                </a:cubicBezTo>
                <a:cubicBezTo>
                  <a:pt x="40187" y="299088"/>
                  <a:pt x="65000" y="282632"/>
                  <a:pt x="86725" y="266700"/>
                </a:cubicBezTo>
                <a:cubicBezTo>
                  <a:pt x="147762" y="221939"/>
                  <a:pt x="214902" y="201931"/>
                  <a:pt x="286750" y="180975"/>
                </a:cubicBezTo>
                <a:cubicBezTo>
                  <a:pt x="324452" y="169979"/>
                  <a:pt x="363161" y="162733"/>
                  <a:pt x="401050" y="152400"/>
                </a:cubicBezTo>
                <a:cubicBezTo>
                  <a:pt x="433030" y="143678"/>
                  <a:pt x="463796" y="130326"/>
                  <a:pt x="496300" y="123825"/>
                </a:cubicBezTo>
                <a:cubicBezTo>
                  <a:pt x="527589" y="117567"/>
                  <a:pt x="559837" y="117824"/>
                  <a:pt x="591550" y="114300"/>
                </a:cubicBezTo>
                <a:cubicBezTo>
                  <a:pt x="616991" y="111473"/>
                  <a:pt x="642542" y="109223"/>
                  <a:pt x="667750" y="104775"/>
                </a:cubicBezTo>
                <a:cubicBezTo>
                  <a:pt x="895674" y="64553"/>
                  <a:pt x="630861" y="106525"/>
                  <a:pt x="820150" y="66675"/>
                </a:cubicBezTo>
                <a:cubicBezTo>
                  <a:pt x="938471" y="41765"/>
                  <a:pt x="918695" y="51976"/>
                  <a:pt x="1029700" y="38100"/>
                </a:cubicBezTo>
                <a:cubicBezTo>
                  <a:pt x="1048864" y="35705"/>
                  <a:pt x="1067670" y="30832"/>
                  <a:pt x="1086850" y="28575"/>
                </a:cubicBezTo>
                <a:cubicBezTo>
                  <a:pt x="1121679" y="24477"/>
                  <a:pt x="1156770" y="22923"/>
                  <a:pt x="1191625" y="19050"/>
                </a:cubicBezTo>
                <a:cubicBezTo>
                  <a:pt x="1213938" y="16571"/>
                  <a:pt x="1236023" y="12310"/>
                  <a:pt x="1258300" y="9525"/>
                </a:cubicBezTo>
                <a:cubicBezTo>
                  <a:pt x="1286829" y="5959"/>
                  <a:pt x="1315450" y="3175"/>
                  <a:pt x="1344025" y="0"/>
                </a:cubicBezTo>
                <a:cubicBezTo>
                  <a:pt x="1439275" y="3175"/>
                  <a:pt x="1534841" y="1148"/>
                  <a:pt x="1629775" y="9525"/>
                </a:cubicBezTo>
                <a:cubicBezTo>
                  <a:pt x="1669635" y="13042"/>
                  <a:pt x="1682520" y="52745"/>
                  <a:pt x="1705975" y="76200"/>
                </a:cubicBezTo>
                <a:cubicBezTo>
                  <a:pt x="1723510" y="93735"/>
                  <a:pt x="1744591" y="107350"/>
                  <a:pt x="1763125" y="123825"/>
                </a:cubicBezTo>
                <a:cubicBezTo>
                  <a:pt x="1790816" y="148439"/>
                  <a:pt x="1816982" y="181622"/>
                  <a:pt x="1839325" y="209550"/>
                </a:cubicBezTo>
                <a:cubicBezTo>
                  <a:pt x="1849242" y="221946"/>
                  <a:pt x="1859486" y="234188"/>
                  <a:pt x="1867900" y="247650"/>
                </a:cubicBezTo>
                <a:cubicBezTo>
                  <a:pt x="1887922" y="279685"/>
                  <a:pt x="1893786" y="306257"/>
                  <a:pt x="1906000" y="342900"/>
                </a:cubicBezTo>
                <a:cubicBezTo>
                  <a:pt x="1909175" y="368300"/>
                  <a:pt x="1911905" y="393760"/>
                  <a:pt x="1915525" y="419100"/>
                </a:cubicBezTo>
                <a:cubicBezTo>
                  <a:pt x="1918256" y="438219"/>
                  <a:pt x="1924456" y="456946"/>
                  <a:pt x="1925050" y="476250"/>
                </a:cubicBezTo>
                <a:cubicBezTo>
                  <a:pt x="1925948" y="505425"/>
                  <a:pt x="1935821" y="1245899"/>
                  <a:pt x="1944100" y="1381125"/>
                </a:cubicBezTo>
                <a:cubicBezTo>
                  <a:pt x="1948516" y="1453253"/>
                  <a:pt x="1967468" y="1520700"/>
                  <a:pt x="1982200" y="1590675"/>
                </a:cubicBezTo>
                <a:cubicBezTo>
                  <a:pt x="1988870" y="1622359"/>
                  <a:pt x="1991860" y="1654938"/>
                  <a:pt x="2001250" y="1685925"/>
                </a:cubicBezTo>
                <a:cubicBezTo>
                  <a:pt x="2023672" y="1759919"/>
                  <a:pt x="2058698" y="1829992"/>
                  <a:pt x="2077450" y="1905000"/>
                </a:cubicBezTo>
                <a:cubicBezTo>
                  <a:pt x="2086975" y="1943100"/>
                  <a:pt x="2097605" y="1980941"/>
                  <a:pt x="2106025" y="2019300"/>
                </a:cubicBezTo>
                <a:cubicBezTo>
                  <a:pt x="2126185" y="2111138"/>
                  <a:pt x="2140371" y="2204307"/>
                  <a:pt x="2163175" y="2295525"/>
                </a:cubicBezTo>
                <a:cubicBezTo>
                  <a:pt x="2182225" y="2371725"/>
                  <a:pt x="2200816" y="2448041"/>
                  <a:pt x="2220325" y="2524125"/>
                </a:cubicBezTo>
                <a:cubicBezTo>
                  <a:pt x="2232567" y="2571870"/>
                  <a:pt x="2258425" y="2667000"/>
                  <a:pt x="2258425" y="2667000"/>
                </a:cubicBezTo>
                <a:cubicBezTo>
                  <a:pt x="2279188" y="2916158"/>
                  <a:pt x="2253212" y="2656926"/>
                  <a:pt x="2287000" y="2876550"/>
                </a:cubicBezTo>
                <a:cubicBezTo>
                  <a:pt x="2294785" y="2927150"/>
                  <a:pt x="2306050" y="3028950"/>
                  <a:pt x="2306050" y="3028950"/>
                </a:cubicBezTo>
                <a:cubicBezTo>
                  <a:pt x="2302875" y="3155950"/>
                  <a:pt x="2304976" y="3283192"/>
                  <a:pt x="2296525" y="3409950"/>
                </a:cubicBezTo>
                <a:cubicBezTo>
                  <a:pt x="2295388" y="3427010"/>
                  <a:pt x="2281974" y="3441080"/>
                  <a:pt x="2277475" y="3457575"/>
                </a:cubicBezTo>
                <a:cubicBezTo>
                  <a:pt x="2272393" y="3476207"/>
                  <a:pt x="2275378" y="3496898"/>
                  <a:pt x="2267950" y="3514725"/>
                </a:cubicBezTo>
                <a:cubicBezTo>
                  <a:pt x="2259144" y="3535859"/>
                  <a:pt x="2243587" y="3553559"/>
                  <a:pt x="2229850" y="3571875"/>
                </a:cubicBezTo>
                <a:cubicBezTo>
                  <a:pt x="2179367" y="3639185"/>
                  <a:pt x="2177877" y="3629217"/>
                  <a:pt x="2115550" y="3695700"/>
                </a:cubicBezTo>
                <a:cubicBezTo>
                  <a:pt x="2089402" y="3723592"/>
                  <a:pt x="2069720" y="3758201"/>
                  <a:pt x="2039350" y="3781425"/>
                </a:cubicBezTo>
                <a:cubicBezTo>
                  <a:pt x="2014510" y="3800420"/>
                  <a:pt x="1981024" y="3804455"/>
                  <a:pt x="1953625" y="3819525"/>
                </a:cubicBezTo>
                <a:cubicBezTo>
                  <a:pt x="1917352" y="3839475"/>
                  <a:pt x="1887187" y="3870581"/>
                  <a:pt x="1848850" y="3886200"/>
                </a:cubicBezTo>
                <a:cubicBezTo>
                  <a:pt x="1800357" y="3905957"/>
                  <a:pt x="1747797" y="3914031"/>
                  <a:pt x="1696450" y="3924300"/>
                </a:cubicBezTo>
                <a:cubicBezTo>
                  <a:pt x="1680575" y="3927475"/>
                  <a:pt x="1664934" y="3932214"/>
                  <a:pt x="1648825" y="3933825"/>
                </a:cubicBezTo>
                <a:cubicBezTo>
                  <a:pt x="1601331" y="3938574"/>
                  <a:pt x="1553575" y="3940175"/>
                  <a:pt x="1505950" y="3943350"/>
                </a:cubicBezTo>
                <a:cubicBezTo>
                  <a:pt x="1398472" y="3979176"/>
                  <a:pt x="1499390" y="3948838"/>
                  <a:pt x="1391650" y="3971925"/>
                </a:cubicBezTo>
                <a:cubicBezTo>
                  <a:pt x="1366049" y="3977411"/>
                  <a:pt x="1341123" y="3985840"/>
                  <a:pt x="1315450" y="3990975"/>
                </a:cubicBezTo>
                <a:cubicBezTo>
                  <a:pt x="1277575" y="3998550"/>
                  <a:pt x="1238622" y="4000657"/>
                  <a:pt x="1201150" y="4010025"/>
                </a:cubicBezTo>
                <a:cubicBezTo>
                  <a:pt x="1144314" y="4024234"/>
                  <a:pt x="1175963" y="4017398"/>
                  <a:pt x="1105900" y="4029075"/>
                </a:cubicBezTo>
                <a:cubicBezTo>
                  <a:pt x="1032875" y="4025900"/>
                  <a:pt x="959069" y="4030664"/>
                  <a:pt x="886825" y="4019550"/>
                </a:cubicBezTo>
                <a:cubicBezTo>
                  <a:pt x="873511" y="4017502"/>
                  <a:pt x="869211" y="3998805"/>
                  <a:pt x="858250" y="3990975"/>
                </a:cubicBezTo>
                <a:cubicBezTo>
                  <a:pt x="846696" y="3982722"/>
                  <a:pt x="832850" y="3978275"/>
                  <a:pt x="820150" y="3971925"/>
                </a:cubicBezTo>
                <a:cubicBezTo>
                  <a:pt x="816975" y="3962400"/>
                  <a:pt x="816194" y="3951704"/>
                  <a:pt x="810625" y="3943350"/>
                </a:cubicBezTo>
                <a:cubicBezTo>
                  <a:pt x="779805" y="3897120"/>
                  <a:pt x="834438" y="3954463"/>
                  <a:pt x="810625" y="3914775"/>
                </a:cubicBezTo>
                <a:close/>
              </a:path>
            </a:pathLst>
          </a:cu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Freihandform: Form 24">
            <a:extLst>
              <a:ext uri="{FF2B5EF4-FFF2-40B4-BE49-F238E27FC236}">
                <a16:creationId xmlns:a16="http://schemas.microsoft.com/office/drawing/2014/main" id="{2A76A48F-C965-EC9F-73FA-3A3C4B4758CE}"/>
              </a:ext>
            </a:extLst>
          </p:cNvPr>
          <p:cNvSpPr/>
          <p:nvPr/>
        </p:nvSpPr>
        <p:spPr>
          <a:xfrm>
            <a:off x="4629150" y="2562225"/>
            <a:ext cx="2009775" cy="3790950"/>
          </a:xfrm>
          <a:custGeom>
            <a:avLst/>
            <a:gdLst>
              <a:gd name="connsiteX0" fmla="*/ 1190625 w 2009775"/>
              <a:gd name="connsiteY0" fmla="*/ 3695700 h 3790950"/>
              <a:gd name="connsiteX1" fmla="*/ 1238250 w 2009775"/>
              <a:gd name="connsiteY1" fmla="*/ 3676650 h 3790950"/>
              <a:gd name="connsiteX2" fmla="*/ 1381125 w 2009775"/>
              <a:gd name="connsiteY2" fmla="*/ 3590925 h 3790950"/>
              <a:gd name="connsiteX3" fmla="*/ 1476375 w 2009775"/>
              <a:gd name="connsiteY3" fmla="*/ 3562350 h 3790950"/>
              <a:gd name="connsiteX4" fmla="*/ 1543050 w 2009775"/>
              <a:gd name="connsiteY4" fmla="*/ 3524250 h 3790950"/>
              <a:gd name="connsiteX5" fmla="*/ 1581150 w 2009775"/>
              <a:gd name="connsiteY5" fmla="*/ 3505200 h 3790950"/>
              <a:gd name="connsiteX6" fmla="*/ 1695450 w 2009775"/>
              <a:gd name="connsiteY6" fmla="*/ 3429000 h 3790950"/>
              <a:gd name="connsiteX7" fmla="*/ 1781175 w 2009775"/>
              <a:gd name="connsiteY7" fmla="*/ 3352800 h 3790950"/>
              <a:gd name="connsiteX8" fmla="*/ 1819275 w 2009775"/>
              <a:gd name="connsiteY8" fmla="*/ 3305175 h 3790950"/>
              <a:gd name="connsiteX9" fmla="*/ 1838325 w 2009775"/>
              <a:gd name="connsiteY9" fmla="*/ 3276600 h 3790950"/>
              <a:gd name="connsiteX10" fmla="*/ 1866900 w 2009775"/>
              <a:gd name="connsiteY10" fmla="*/ 3238500 h 3790950"/>
              <a:gd name="connsiteX11" fmla="*/ 1876425 w 2009775"/>
              <a:gd name="connsiteY11" fmla="*/ 3190875 h 3790950"/>
              <a:gd name="connsiteX12" fmla="*/ 1895475 w 2009775"/>
              <a:gd name="connsiteY12" fmla="*/ 3133725 h 3790950"/>
              <a:gd name="connsiteX13" fmla="*/ 1857375 w 2009775"/>
              <a:gd name="connsiteY13" fmla="*/ 2886075 h 3790950"/>
              <a:gd name="connsiteX14" fmla="*/ 1828800 w 2009775"/>
              <a:gd name="connsiteY14" fmla="*/ 2828925 h 3790950"/>
              <a:gd name="connsiteX15" fmla="*/ 1809750 w 2009775"/>
              <a:gd name="connsiteY15" fmla="*/ 2724150 h 3790950"/>
              <a:gd name="connsiteX16" fmla="*/ 1790700 w 2009775"/>
              <a:gd name="connsiteY16" fmla="*/ 2390775 h 3790950"/>
              <a:gd name="connsiteX17" fmla="*/ 1800225 w 2009775"/>
              <a:gd name="connsiteY17" fmla="*/ 2076450 h 3790950"/>
              <a:gd name="connsiteX18" fmla="*/ 1819275 w 2009775"/>
              <a:gd name="connsiteY18" fmla="*/ 1914525 h 3790950"/>
              <a:gd name="connsiteX19" fmla="*/ 1838325 w 2009775"/>
              <a:gd name="connsiteY19" fmla="*/ 1809750 h 3790950"/>
              <a:gd name="connsiteX20" fmla="*/ 1857375 w 2009775"/>
              <a:gd name="connsiteY20" fmla="*/ 1638300 h 3790950"/>
              <a:gd name="connsiteX21" fmla="*/ 1866900 w 2009775"/>
              <a:gd name="connsiteY21" fmla="*/ 1581150 h 3790950"/>
              <a:gd name="connsiteX22" fmla="*/ 1876425 w 2009775"/>
              <a:gd name="connsiteY22" fmla="*/ 1428750 h 3790950"/>
              <a:gd name="connsiteX23" fmla="*/ 1885950 w 2009775"/>
              <a:gd name="connsiteY23" fmla="*/ 1371600 h 3790950"/>
              <a:gd name="connsiteX24" fmla="*/ 1895475 w 2009775"/>
              <a:gd name="connsiteY24" fmla="*/ 1304925 h 3790950"/>
              <a:gd name="connsiteX25" fmla="*/ 1914525 w 2009775"/>
              <a:gd name="connsiteY25" fmla="*/ 1143000 h 3790950"/>
              <a:gd name="connsiteX26" fmla="*/ 1943100 w 2009775"/>
              <a:gd name="connsiteY26" fmla="*/ 1028700 h 3790950"/>
              <a:gd name="connsiteX27" fmla="*/ 1981200 w 2009775"/>
              <a:gd name="connsiteY27" fmla="*/ 904875 h 3790950"/>
              <a:gd name="connsiteX28" fmla="*/ 1990725 w 2009775"/>
              <a:gd name="connsiteY28" fmla="*/ 838200 h 3790950"/>
              <a:gd name="connsiteX29" fmla="*/ 2000250 w 2009775"/>
              <a:gd name="connsiteY29" fmla="*/ 752475 h 3790950"/>
              <a:gd name="connsiteX30" fmla="*/ 2009775 w 2009775"/>
              <a:gd name="connsiteY30" fmla="*/ 704850 h 3790950"/>
              <a:gd name="connsiteX31" fmla="*/ 1990725 w 2009775"/>
              <a:gd name="connsiteY31" fmla="*/ 419100 h 3790950"/>
              <a:gd name="connsiteX32" fmla="*/ 1981200 w 2009775"/>
              <a:gd name="connsiteY32" fmla="*/ 371475 h 3790950"/>
              <a:gd name="connsiteX33" fmla="*/ 1952625 w 2009775"/>
              <a:gd name="connsiteY33" fmla="*/ 352425 h 3790950"/>
              <a:gd name="connsiteX34" fmla="*/ 1847850 w 2009775"/>
              <a:gd name="connsiteY34" fmla="*/ 285750 h 3790950"/>
              <a:gd name="connsiteX35" fmla="*/ 1704975 w 2009775"/>
              <a:gd name="connsiteY35" fmla="*/ 219075 h 3790950"/>
              <a:gd name="connsiteX36" fmla="*/ 1657350 w 2009775"/>
              <a:gd name="connsiteY36" fmla="*/ 209550 h 3790950"/>
              <a:gd name="connsiteX37" fmla="*/ 1619250 w 2009775"/>
              <a:gd name="connsiteY37" fmla="*/ 200025 h 3790950"/>
              <a:gd name="connsiteX38" fmla="*/ 1409700 w 2009775"/>
              <a:gd name="connsiteY38" fmla="*/ 133350 h 3790950"/>
              <a:gd name="connsiteX39" fmla="*/ 1314450 w 2009775"/>
              <a:gd name="connsiteY39" fmla="*/ 104775 h 3790950"/>
              <a:gd name="connsiteX40" fmla="*/ 1171575 w 2009775"/>
              <a:gd name="connsiteY40" fmla="*/ 57150 h 3790950"/>
              <a:gd name="connsiteX41" fmla="*/ 1057275 w 2009775"/>
              <a:gd name="connsiteY41" fmla="*/ 38100 h 3790950"/>
              <a:gd name="connsiteX42" fmla="*/ 971550 w 2009775"/>
              <a:gd name="connsiteY42" fmla="*/ 19050 h 3790950"/>
              <a:gd name="connsiteX43" fmla="*/ 876300 w 2009775"/>
              <a:gd name="connsiteY43" fmla="*/ 9525 h 3790950"/>
              <a:gd name="connsiteX44" fmla="*/ 819150 w 2009775"/>
              <a:gd name="connsiteY44" fmla="*/ 0 h 3790950"/>
              <a:gd name="connsiteX45" fmla="*/ 552450 w 2009775"/>
              <a:gd name="connsiteY45" fmla="*/ 19050 h 3790950"/>
              <a:gd name="connsiteX46" fmla="*/ 514350 w 2009775"/>
              <a:gd name="connsiteY46" fmla="*/ 38100 h 3790950"/>
              <a:gd name="connsiteX47" fmla="*/ 485775 w 2009775"/>
              <a:gd name="connsiteY47" fmla="*/ 47625 h 3790950"/>
              <a:gd name="connsiteX48" fmla="*/ 352425 w 2009775"/>
              <a:gd name="connsiteY48" fmla="*/ 85725 h 3790950"/>
              <a:gd name="connsiteX49" fmla="*/ 247650 w 2009775"/>
              <a:gd name="connsiteY49" fmla="*/ 152400 h 3790950"/>
              <a:gd name="connsiteX50" fmla="*/ 219075 w 2009775"/>
              <a:gd name="connsiteY50" fmla="*/ 180975 h 3790950"/>
              <a:gd name="connsiteX51" fmla="*/ 180975 w 2009775"/>
              <a:gd name="connsiteY51" fmla="*/ 257175 h 3790950"/>
              <a:gd name="connsiteX52" fmla="*/ 161925 w 2009775"/>
              <a:gd name="connsiteY52" fmla="*/ 400050 h 3790950"/>
              <a:gd name="connsiteX53" fmla="*/ 133350 w 2009775"/>
              <a:gd name="connsiteY53" fmla="*/ 742950 h 3790950"/>
              <a:gd name="connsiteX54" fmla="*/ 123825 w 2009775"/>
              <a:gd name="connsiteY54" fmla="*/ 819150 h 3790950"/>
              <a:gd name="connsiteX55" fmla="*/ 104775 w 2009775"/>
              <a:gd name="connsiteY55" fmla="*/ 971550 h 3790950"/>
              <a:gd name="connsiteX56" fmla="*/ 85725 w 2009775"/>
              <a:gd name="connsiteY56" fmla="*/ 1162050 h 3790950"/>
              <a:gd name="connsiteX57" fmla="*/ 66675 w 2009775"/>
              <a:gd name="connsiteY57" fmla="*/ 1352550 h 3790950"/>
              <a:gd name="connsiteX58" fmla="*/ 57150 w 2009775"/>
              <a:gd name="connsiteY58" fmla="*/ 1419225 h 3790950"/>
              <a:gd name="connsiteX59" fmla="*/ 47625 w 2009775"/>
              <a:gd name="connsiteY59" fmla="*/ 1524000 h 3790950"/>
              <a:gd name="connsiteX60" fmla="*/ 28575 w 2009775"/>
              <a:gd name="connsiteY60" fmla="*/ 1562100 h 3790950"/>
              <a:gd name="connsiteX61" fmla="*/ 9525 w 2009775"/>
              <a:gd name="connsiteY61" fmla="*/ 1838325 h 3790950"/>
              <a:gd name="connsiteX62" fmla="*/ 0 w 2009775"/>
              <a:gd name="connsiteY62" fmla="*/ 2076450 h 3790950"/>
              <a:gd name="connsiteX63" fmla="*/ 9525 w 2009775"/>
              <a:gd name="connsiteY63" fmla="*/ 2657475 h 3790950"/>
              <a:gd name="connsiteX64" fmla="*/ 19050 w 2009775"/>
              <a:gd name="connsiteY64" fmla="*/ 2724150 h 3790950"/>
              <a:gd name="connsiteX65" fmla="*/ 57150 w 2009775"/>
              <a:gd name="connsiteY65" fmla="*/ 2962275 h 3790950"/>
              <a:gd name="connsiteX66" fmla="*/ 95250 w 2009775"/>
              <a:gd name="connsiteY66" fmla="*/ 3276600 h 3790950"/>
              <a:gd name="connsiteX67" fmla="*/ 152400 w 2009775"/>
              <a:gd name="connsiteY67" fmla="*/ 3448050 h 3790950"/>
              <a:gd name="connsiteX68" fmla="*/ 190500 w 2009775"/>
              <a:gd name="connsiteY68" fmla="*/ 3590925 h 3790950"/>
              <a:gd name="connsiteX69" fmla="*/ 228600 w 2009775"/>
              <a:gd name="connsiteY69" fmla="*/ 3657600 h 3790950"/>
              <a:gd name="connsiteX70" fmla="*/ 257175 w 2009775"/>
              <a:gd name="connsiteY70" fmla="*/ 3695700 h 3790950"/>
              <a:gd name="connsiteX71" fmla="*/ 276225 w 2009775"/>
              <a:gd name="connsiteY71" fmla="*/ 3733800 h 3790950"/>
              <a:gd name="connsiteX72" fmla="*/ 333375 w 2009775"/>
              <a:gd name="connsiteY72" fmla="*/ 3752850 h 3790950"/>
              <a:gd name="connsiteX73" fmla="*/ 495300 w 2009775"/>
              <a:gd name="connsiteY73" fmla="*/ 3781425 h 3790950"/>
              <a:gd name="connsiteX74" fmla="*/ 561975 w 2009775"/>
              <a:gd name="connsiteY74" fmla="*/ 3790950 h 3790950"/>
              <a:gd name="connsiteX75" fmla="*/ 971550 w 2009775"/>
              <a:gd name="connsiteY75" fmla="*/ 3781425 h 3790950"/>
              <a:gd name="connsiteX76" fmla="*/ 1076325 w 2009775"/>
              <a:gd name="connsiteY76" fmla="*/ 3762375 h 3790950"/>
              <a:gd name="connsiteX77" fmla="*/ 1152525 w 2009775"/>
              <a:gd name="connsiteY77" fmla="*/ 3752850 h 3790950"/>
              <a:gd name="connsiteX78" fmla="*/ 1181100 w 2009775"/>
              <a:gd name="connsiteY78" fmla="*/ 3733800 h 3790950"/>
              <a:gd name="connsiteX79" fmla="*/ 1238250 w 2009775"/>
              <a:gd name="connsiteY79" fmla="*/ 3714750 h 3790950"/>
              <a:gd name="connsiteX80" fmla="*/ 1238250 w 2009775"/>
              <a:gd name="connsiteY80" fmla="*/ 3676650 h 37909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</a:cxnLst>
            <a:rect l="l" t="t" r="r" b="b"/>
            <a:pathLst>
              <a:path w="2009775" h="3790950">
                <a:moveTo>
                  <a:pt x="1190625" y="3695700"/>
                </a:moveTo>
                <a:cubicBezTo>
                  <a:pt x="1206500" y="3689350"/>
                  <a:pt x="1223269" y="3684890"/>
                  <a:pt x="1238250" y="3676650"/>
                </a:cubicBezTo>
                <a:cubicBezTo>
                  <a:pt x="1286915" y="3649884"/>
                  <a:pt x="1327928" y="3606884"/>
                  <a:pt x="1381125" y="3590925"/>
                </a:cubicBezTo>
                <a:cubicBezTo>
                  <a:pt x="1412875" y="3581400"/>
                  <a:pt x="1445724" y="3574971"/>
                  <a:pt x="1476375" y="3562350"/>
                </a:cubicBezTo>
                <a:cubicBezTo>
                  <a:pt x="1500045" y="3552604"/>
                  <a:pt x="1520578" y="3536507"/>
                  <a:pt x="1543050" y="3524250"/>
                </a:cubicBezTo>
                <a:cubicBezTo>
                  <a:pt x="1555515" y="3517451"/>
                  <a:pt x="1569109" y="3512725"/>
                  <a:pt x="1581150" y="3505200"/>
                </a:cubicBezTo>
                <a:cubicBezTo>
                  <a:pt x="1619980" y="3480931"/>
                  <a:pt x="1666845" y="3464756"/>
                  <a:pt x="1695450" y="3429000"/>
                </a:cubicBezTo>
                <a:cubicBezTo>
                  <a:pt x="1745115" y="3366919"/>
                  <a:pt x="1716117" y="3391835"/>
                  <a:pt x="1781175" y="3352800"/>
                </a:cubicBezTo>
                <a:cubicBezTo>
                  <a:pt x="1793875" y="3336925"/>
                  <a:pt x="1807077" y="3321439"/>
                  <a:pt x="1819275" y="3305175"/>
                </a:cubicBezTo>
                <a:cubicBezTo>
                  <a:pt x="1826144" y="3296017"/>
                  <a:pt x="1831671" y="3285915"/>
                  <a:pt x="1838325" y="3276600"/>
                </a:cubicBezTo>
                <a:cubicBezTo>
                  <a:pt x="1847552" y="3263682"/>
                  <a:pt x="1857375" y="3251200"/>
                  <a:pt x="1866900" y="3238500"/>
                </a:cubicBezTo>
                <a:cubicBezTo>
                  <a:pt x="1870075" y="3222625"/>
                  <a:pt x="1872165" y="3206494"/>
                  <a:pt x="1876425" y="3190875"/>
                </a:cubicBezTo>
                <a:cubicBezTo>
                  <a:pt x="1881709" y="3171502"/>
                  <a:pt x="1895475" y="3153805"/>
                  <a:pt x="1895475" y="3133725"/>
                </a:cubicBezTo>
                <a:cubicBezTo>
                  <a:pt x="1895475" y="3096025"/>
                  <a:pt x="1876112" y="2942286"/>
                  <a:pt x="1857375" y="2886075"/>
                </a:cubicBezTo>
                <a:cubicBezTo>
                  <a:pt x="1850640" y="2865869"/>
                  <a:pt x="1838325" y="2847975"/>
                  <a:pt x="1828800" y="2828925"/>
                </a:cubicBezTo>
                <a:cubicBezTo>
                  <a:pt x="1824524" y="2807547"/>
                  <a:pt x="1811156" y="2743367"/>
                  <a:pt x="1809750" y="2724150"/>
                </a:cubicBezTo>
                <a:cubicBezTo>
                  <a:pt x="1801627" y="2613140"/>
                  <a:pt x="1790700" y="2390775"/>
                  <a:pt x="1790700" y="2390775"/>
                </a:cubicBezTo>
                <a:cubicBezTo>
                  <a:pt x="1793875" y="2286000"/>
                  <a:pt x="1795355" y="2181160"/>
                  <a:pt x="1800225" y="2076450"/>
                </a:cubicBezTo>
                <a:cubicBezTo>
                  <a:pt x="1801972" y="2038881"/>
                  <a:pt x="1812282" y="1956486"/>
                  <a:pt x="1819275" y="1914525"/>
                </a:cubicBezTo>
                <a:cubicBezTo>
                  <a:pt x="1825111" y="1879510"/>
                  <a:pt x="1832489" y="1844765"/>
                  <a:pt x="1838325" y="1809750"/>
                </a:cubicBezTo>
                <a:cubicBezTo>
                  <a:pt x="1854415" y="1713212"/>
                  <a:pt x="1843310" y="1757852"/>
                  <a:pt x="1857375" y="1638300"/>
                </a:cubicBezTo>
                <a:cubicBezTo>
                  <a:pt x="1859632" y="1619120"/>
                  <a:pt x="1863725" y="1600200"/>
                  <a:pt x="1866900" y="1581150"/>
                </a:cubicBezTo>
                <a:cubicBezTo>
                  <a:pt x="1870075" y="1530350"/>
                  <a:pt x="1871817" y="1479440"/>
                  <a:pt x="1876425" y="1428750"/>
                </a:cubicBezTo>
                <a:cubicBezTo>
                  <a:pt x="1878173" y="1409517"/>
                  <a:pt x="1883013" y="1390688"/>
                  <a:pt x="1885950" y="1371600"/>
                </a:cubicBezTo>
                <a:cubicBezTo>
                  <a:pt x="1889364" y="1349410"/>
                  <a:pt x="1892690" y="1327202"/>
                  <a:pt x="1895475" y="1304925"/>
                </a:cubicBezTo>
                <a:cubicBezTo>
                  <a:pt x="1901358" y="1257864"/>
                  <a:pt x="1907194" y="1190654"/>
                  <a:pt x="1914525" y="1143000"/>
                </a:cubicBezTo>
                <a:cubicBezTo>
                  <a:pt x="1922411" y="1091740"/>
                  <a:pt x="1928414" y="1083771"/>
                  <a:pt x="1943100" y="1028700"/>
                </a:cubicBezTo>
                <a:cubicBezTo>
                  <a:pt x="1970936" y="924314"/>
                  <a:pt x="1949397" y="984383"/>
                  <a:pt x="1981200" y="904875"/>
                </a:cubicBezTo>
                <a:cubicBezTo>
                  <a:pt x="1984375" y="882650"/>
                  <a:pt x="1987940" y="860477"/>
                  <a:pt x="1990725" y="838200"/>
                </a:cubicBezTo>
                <a:cubicBezTo>
                  <a:pt x="1994291" y="809671"/>
                  <a:pt x="1996184" y="780937"/>
                  <a:pt x="2000250" y="752475"/>
                </a:cubicBezTo>
                <a:cubicBezTo>
                  <a:pt x="2002540" y="736448"/>
                  <a:pt x="2006600" y="720725"/>
                  <a:pt x="2009775" y="704850"/>
                </a:cubicBezTo>
                <a:cubicBezTo>
                  <a:pt x="2003425" y="609600"/>
                  <a:pt x="1998878" y="514213"/>
                  <a:pt x="1990725" y="419100"/>
                </a:cubicBezTo>
                <a:cubicBezTo>
                  <a:pt x="1989342" y="402970"/>
                  <a:pt x="1989232" y="385531"/>
                  <a:pt x="1981200" y="371475"/>
                </a:cubicBezTo>
                <a:cubicBezTo>
                  <a:pt x="1975520" y="361536"/>
                  <a:pt x="1960720" y="360520"/>
                  <a:pt x="1952625" y="352425"/>
                </a:cubicBezTo>
                <a:cubicBezTo>
                  <a:pt x="1863749" y="263549"/>
                  <a:pt x="1975386" y="336764"/>
                  <a:pt x="1847850" y="285750"/>
                </a:cubicBezTo>
                <a:cubicBezTo>
                  <a:pt x="1758940" y="250186"/>
                  <a:pt x="1790159" y="247470"/>
                  <a:pt x="1704975" y="219075"/>
                </a:cubicBezTo>
                <a:cubicBezTo>
                  <a:pt x="1689616" y="213955"/>
                  <a:pt x="1673154" y="213062"/>
                  <a:pt x="1657350" y="209550"/>
                </a:cubicBezTo>
                <a:cubicBezTo>
                  <a:pt x="1644571" y="206710"/>
                  <a:pt x="1631863" y="203529"/>
                  <a:pt x="1619250" y="200025"/>
                </a:cubicBezTo>
                <a:cubicBezTo>
                  <a:pt x="1329878" y="119644"/>
                  <a:pt x="1605434" y="198595"/>
                  <a:pt x="1409700" y="133350"/>
                </a:cubicBezTo>
                <a:cubicBezTo>
                  <a:pt x="1378253" y="122868"/>
                  <a:pt x="1345897" y="115257"/>
                  <a:pt x="1314450" y="104775"/>
                </a:cubicBezTo>
                <a:cubicBezTo>
                  <a:pt x="1172668" y="57514"/>
                  <a:pt x="1301773" y="92659"/>
                  <a:pt x="1171575" y="57150"/>
                </a:cubicBezTo>
                <a:cubicBezTo>
                  <a:pt x="1099111" y="37387"/>
                  <a:pt x="1165101" y="57128"/>
                  <a:pt x="1057275" y="38100"/>
                </a:cubicBezTo>
                <a:cubicBezTo>
                  <a:pt x="1028448" y="33013"/>
                  <a:pt x="1000464" y="23615"/>
                  <a:pt x="971550" y="19050"/>
                </a:cubicBezTo>
                <a:cubicBezTo>
                  <a:pt x="940032" y="14073"/>
                  <a:pt x="907962" y="13483"/>
                  <a:pt x="876300" y="9525"/>
                </a:cubicBezTo>
                <a:cubicBezTo>
                  <a:pt x="857136" y="7130"/>
                  <a:pt x="838200" y="3175"/>
                  <a:pt x="819150" y="0"/>
                </a:cubicBezTo>
                <a:cubicBezTo>
                  <a:pt x="730250" y="6350"/>
                  <a:pt x="640888" y="7995"/>
                  <a:pt x="552450" y="19050"/>
                </a:cubicBezTo>
                <a:cubicBezTo>
                  <a:pt x="538361" y="20811"/>
                  <a:pt x="527401" y="32507"/>
                  <a:pt x="514350" y="38100"/>
                </a:cubicBezTo>
                <a:cubicBezTo>
                  <a:pt x="505122" y="42055"/>
                  <a:pt x="495461" y="44983"/>
                  <a:pt x="485775" y="47625"/>
                </a:cubicBezTo>
                <a:cubicBezTo>
                  <a:pt x="458919" y="54949"/>
                  <a:pt x="381627" y="71124"/>
                  <a:pt x="352425" y="85725"/>
                </a:cubicBezTo>
                <a:cubicBezTo>
                  <a:pt x="290555" y="116660"/>
                  <a:pt x="299055" y="107421"/>
                  <a:pt x="247650" y="152400"/>
                </a:cubicBezTo>
                <a:cubicBezTo>
                  <a:pt x="237513" y="161270"/>
                  <a:pt x="226307" y="169611"/>
                  <a:pt x="219075" y="180975"/>
                </a:cubicBezTo>
                <a:cubicBezTo>
                  <a:pt x="203829" y="204933"/>
                  <a:pt x="180975" y="257175"/>
                  <a:pt x="180975" y="257175"/>
                </a:cubicBezTo>
                <a:cubicBezTo>
                  <a:pt x="175927" y="292510"/>
                  <a:pt x="165002" y="366198"/>
                  <a:pt x="161925" y="400050"/>
                </a:cubicBezTo>
                <a:cubicBezTo>
                  <a:pt x="151541" y="514275"/>
                  <a:pt x="143734" y="628725"/>
                  <a:pt x="133350" y="742950"/>
                </a:cubicBezTo>
                <a:cubicBezTo>
                  <a:pt x="131032" y="768443"/>
                  <a:pt x="126505" y="793693"/>
                  <a:pt x="123825" y="819150"/>
                </a:cubicBezTo>
                <a:cubicBezTo>
                  <a:pt x="109171" y="958366"/>
                  <a:pt x="122869" y="881081"/>
                  <a:pt x="104775" y="971550"/>
                </a:cubicBezTo>
                <a:cubicBezTo>
                  <a:pt x="82470" y="1239213"/>
                  <a:pt x="107126" y="962311"/>
                  <a:pt x="85725" y="1162050"/>
                </a:cubicBezTo>
                <a:cubicBezTo>
                  <a:pt x="78926" y="1225504"/>
                  <a:pt x="73722" y="1289124"/>
                  <a:pt x="66675" y="1352550"/>
                </a:cubicBezTo>
                <a:cubicBezTo>
                  <a:pt x="64196" y="1374863"/>
                  <a:pt x="59629" y="1396912"/>
                  <a:pt x="57150" y="1419225"/>
                </a:cubicBezTo>
                <a:cubicBezTo>
                  <a:pt x="53277" y="1454080"/>
                  <a:pt x="54503" y="1489612"/>
                  <a:pt x="47625" y="1524000"/>
                </a:cubicBezTo>
                <a:cubicBezTo>
                  <a:pt x="44840" y="1537923"/>
                  <a:pt x="34925" y="1549400"/>
                  <a:pt x="28575" y="1562100"/>
                </a:cubicBezTo>
                <a:cubicBezTo>
                  <a:pt x="21054" y="1659868"/>
                  <a:pt x="14368" y="1739045"/>
                  <a:pt x="9525" y="1838325"/>
                </a:cubicBezTo>
                <a:cubicBezTo>
                  <a:pt x="5655" y="1917669"/>
                  <a:pt x="3175" y="1997075"/>
                  <a:pt x="0" y="2076450"/>
                </a:cubicBezTo>
                <a:cubicBezTo>
                  <a:pt x="3175" y="2270125"/>
                  <a:pt x="3830" y="2463858"/>
                  <a:pt x="9525" y="2657475"/>
                </a:cubicBezTo>
                <a:cubicBezTo>
                  <a:pt x="10185" y="2679916"/>
                  <a:pt x="15359" y="2702005"/>
                  <a:pt x="19050" y="2724150"/>
                </a:cubicBezTo>
                <a:cubicBezTo>
                  <a:pt x="33305" y="2809677"/>
                  <a:pt x="49593" y="2879143"/>
                  <a:pt x="57150" y="2962275"/>
                </a:cubicBezTo>
                <a:cubicBezTo>
                  <a:pt x="65429" y="3053344"/>
                  <a:pt x="67396" y="3193037"/>
                  <a:pt x="95250" y="3276600"/>
                </a:cubicBezTo>
                <a:cubicBezTo>
                  <a:pt x="114300" y="3333750"/>
                  <a:pt x="134860" y="3390419"/>
                  <a:pt x="152400" y="3448050"/>
                </a:cubicBezTo>
                <a:cubicBezTo>
                  <a:pt x="207169" y="3628004"/>
                  <a:pt x="77946" y="3275775"/>
                  <a:pt x="190500" y="3590925"/>
                </a:cubicBezTo>
                <a:cubicBezTo>
                  <a:pt x="198473" y="3613249"/>
                  <a:pt x="214732" y="3638185"/>
                  <a:pt x="228600" y="3657600"/>
                </a:cubicBezTo>
                <a:cubicBezTo>
                  <a:pt x="237827" y="3670518"/>
                  <a:pt x="248761" y="3682238"/>
                  <a:pt x="257175" y="3695700"/>
                </a:cubicBezTo>
                <a:cubicBezTo>
                  <a:pt x="264700" y="3707741"/>
                  <a:pt x="264866" y="3725281"/>
                  <a:pt x="276225" y="3733800"/>
                </a:cubicBezTo>
                <a:cubicBezTo>
                  <a:pt x="292289" y="3745848"/>
                  <a:pt x="316667" y="3741711"/>
                  <a:pt x="333375" y="3752850"/>
                </a:cubicBezTo>
                <a:cubicBezTo>
                  <a:pt x="400578" y="3797652"/>
                  <a:pt x="344499" y="3767063"/>
                  <a:pt x="495300" y="3781425"/>
                </a:cubicBezTo>
                <a:cubicBezTo>
                  <a:pt x="517650" y="3783554"/>
                  <a:pt x="539750" y="3787775"/>
                  <a:pt x="561975" y="3790950"/>
                </a:cubicBezTo>
                <a:lnTo>
                  <a:pt x="971550" y="3781425"/>
                </a:lnTo>
                <a:cubicBezTo>
                  <a:pt x="1054081" y="3778124"/>
                  <a:pt x="1014756" y="3772637"/>
                  <a:pt x="1076325" y="3762375"/>
                </a:cubicBezTo>
                <a:cubicBezTo>
                  <a:pt x="1101574" y="3758167"/>
                  <a:pt x="1127125" y="3756025"/>
                  <a:pt x="1152525" y="3752850"/>
                </a:cubicBezTo>
                <a:cubicBezTo>
                  <a:pt x="1162050" y="3746500"/>
                  <a:pt x="1170639" y="3738449"/>
                  <a:pt x="1181100" y="3733800"/>
                </a:cubicBezTo>
                <a:cubicBezTo>
                  <a:pt x="1199450" y="3725645"/>
                  <a:pt x="1238250" y="3714750"/>
                  <a:pt x="1238250" y="3714750"/>
                </a:cubicBezTo>
                <a:cubicBezTo>
                  <a:pt x="1261238" y="3680268"/>
                  <a:pt x="1267539" y="3691295"/>
                  <a:pt x="1238250" y="3676650"/>
                </a:cubicBezTo>
              </a:path>
            </a:pathLst>
          </a:cu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Freihandform: Form 25">
            <a:extLst>
              <a:ext uri="{FF2B5EF4-FFF2-40B4-BE49-F238E27FC236}">
                <a16:creationId xmlns:a16="http://schemas.microsoft.com/office/drawing/2014/main" id="{2D365913-0EB8-4616-B36B-52B94A3776CD}"/>
              </a:ext>
            </a:extLst>
          </p:cNvPr>
          <p:cNvSpPr/>
          <p:nvPr/>
        </p:nvSpPr>
        <p:spPr>
          <a:xfrm>
            <a:off x="6867525" y="3619500"/>
            <a:ext cx="2114550" cy="2200275"/>
          </a:xfrm>
          <a:custGeom>
            <a:avLst/>
            <a:gdLst>
              <a:gd name="connsiteX0" fmla="*/ 1724025 w 2114550"/>
              <a:gd name="connsiteY0" fmla="*/ 2152650 h 2200275"/>
              <a:gd name="connsiteX1" fmla="*/ 1609725 w 2114550"/>
              <a:gd name="connsiteY1" fmla="*/ 2162175 h 2200275"/>
              <a:gd name="connsiteX2" fmla="*/ 1562100 w 2114550"/>
              <a:gd name="connsiteY2" fmla="*/ 2171700 h 2200275"/>
              <a:gd name="connsiteX3" fmla="*/ 1504950 w 2114550"/>
              <a:gd name="connsiteY3" fmla="*/ 2181225 h 2200275"/>
              <a:gd name="connsiteX4" fmla="*/ 1457325 w 2114550"/>
              <a:gd name="connsiteY4" fmla="*/ 2190750 h 2200275"/>
              <a:gd name="connsiteX5" fmla="*/ 1390650 w 2114550"/>
              <a:gd name="connsiteY5" fmla="*/ 2200275 h 2200275"/>
              <a:gd name="connsiteX6" fmla="*/ 609600 w 2114550"/>
              <a:gd name="connsiteY6" fmla="*/ 2181225 h 2200275"/>
              <a:gd name="connsiteX7" fmla="*/ 476250 w 2114550"/>
              <a:gd name="connsiteY7" fmla="*/ 2152650 h 2200275"/>
              <a:gd name="connsiteX8" fmla="*/ 438150 w 2114550"/>
              <a:gd name="connsiteY8" fmla="*/ 2133600 h 2200275"/>
              <a:gd name="connsiteX9" fmla="*/ 371475 w 2114550"/>
              <a:gd name="connsiteY9" fmla="*/ 2114550 h 2200275"/>
              <a:gd name="connsiteX10" fmla="*/ 295275 w 2114550"/>
              <a:gd name="connsiteY10" fmla="*/ 2066925 h 2200275"/>
              <a:gd name="connsiteX11" fmla="*/ 247650 w 2114550"/>
              <a:gd name="connsiteY11" fmla="*/ 2047875 h 2200275"/>
              <a:gd name="connsiteX12" fmla="*/ 219075 w 2114550"/>
              <a:gd name="connsiteY12" fmla="*/ 2019300 h 2200275"/>
              <a:gd name="connsiteX13" fmla="*/ 180975 w 2114550"/>
              <a:gd name="connsiteY13" fmla="*/ 2009775 h 2200275"/>
              <a:gd name="connsiteX14" fmla="*/ 142875 w 2114550"/>
              <a:gd name="connsiteY14" fmla="*/ 1981200 h 2200275"/>
              <a:gd name="connsiteX15" fmla="*/ 123825 w 2114550"/>
              <a:gd name="connsiteY15" fmla="*/ 1943100 h 2200275"/>
              <a:gd name="connsiteX16" fmla="*/ 57150 w 2114550"/>
              <a:gd name="connsiteY16" fmla="*/ 1857375 h 2200275"/>
              <a:gd name="connsiteX17" fmla="*/ 47625 w 2114550"/>
              <a:gd name="connsiteY17" fmla="*/ 1828800 h 2200275"/>
              <a:gd name="connsiteX18" fmla="*/ 28575 w 2114550"/>
              <a:gd name="connsiteY18" fmla="*/ 1800225 h 2200275"/>
              <a:gd name="connsiteX19" fmla="*/ 19050 w 2114550"/>
              <a:gd name="connsiteY19" fmla="*/ 1695450 h 2200275"/>
              <a:gd name="connsiteX20" fmla="*/ 0 w 2114550"/>
              <a:gd name="connsiteY20" fmla="*/ 1562100 h 2200275"/>
              <a:gd name="connsiteX21" fmla="*/ 9525 w 2114550"/>
              <a:gd name="connsiteY21" fmla="*/ 1171575 h 2200275"/>
              <a:gd name="connsiteX22" fmla="*/ 19050 w 2114550"/>
              <a:gd name="connsiteY22" fmla="*/ 1123950 h 2200275"/>
              <a:gd name="connsiteX23" fmla="*/ 76200 w 2114550"/>
              <a:gd name="connsiteY23" fmla="*/ 971550 h 2200275"/>
              <a:gd name="connsiteX24" fmla="*/ 95250 w 2114550"/>
              <a:gd name="connsiteY24" fmla="*/ 895350 h 2200275"/>
              <a:gd name="connsiteX25" fmla="*/ 171450 w 2114550"/>
              <a:gd name="connsiteY25" fmla="*/ 714375 h 2200275"/>
              <a:gd name="connsiteX26" fmla="*/ 200025 w 2114550"/>
              <a:gd name="connsiteY26" fmla="*/ 657225 h 2200275"/>
              <a:gd name="connsiteX27" fmla="*/ 247650 w 2114550"/>
              <a:gd name="connsiteY27" fmla="*/ 523875 h 2200275"/>
              <a:gd name="connsiteX28" fmla="*/ 304800 w 2114550"/>
              <a:gd name="connsiteY28" fmla="*/ 409575 h 2200275"/>
              <a:gd name="connsiteX29" fmla="*/ 323850 w 2114550"/>
              <a:gd name="connsiteY29" fmla="*/ 371475 h 2200275"/>
              <a:gd name="connsiteX30" fmla="*/ 352425 w 2114550"/>
              <a:gd name="connsiteY30" fmla="*/ 304800 h 2200275"/>
              <a:gd name="connsiteX31" fmla="*/ 371475 w 2114550"/>
              <a:gd name="connsiteY31" fmla="*/ 238125 h 2200275"/>
              <a:gd name="connsiteX32" fmla="*/ 438150 w 2114550"/>
              <a:gd name="connsiteY32" fmla="*/ 152400 h 2200275"/>
              <a:gd name="connsiteX33" fmla="*/ 457200 w 2114550"/>
              <a:gd name="connsiteY33" fmla="*/ 104775 h 2200275"/>
              <a:gd name="connsiteX34" fmla="*/ 495300 w 2114550"/>
              <a:gd name="connsiteY34" fmla="*/ 76200 h 2200275"/>
              <a:gd name="connsiteX35" fmla="*/ 552450 w 2114550"/>
              <a:gd name="connsiteY35" fmla="*/ 19050 h 2200275"/>
              <a:gd name="connsiteX36" fmla="*/ 657225 w 2114550"/>
              <a:gd name="connsiteY36" fmla="*/ 0 h 2200275"/>
              <a:gd name="connsiteX37" fmla="*/ 962025 w 2114550"/>
              <a:gd name="connsiteY37" fmla="*/ 9525 h 2200275"/>
              <a:gd name="connsiteX38" fmla="*/ 1076325 w 2114550"/>
              <a:gd name="connsiteY38" fmla="*/ 38100 h 2200275"/>
              <a:gd name="connsiteX39" fmla="*/ 1257300 w 2114550"/>
              <a:gd name="connsiteY39" fmla="*/ 85725 h 2200275"/>
              <a:gd name="connsiteX40" fmla="*/ 1371600 w 2114550"/>
              <a:gd name="connsiteY40" fmla="*/ 114300 h 2200275"/>
              <a:gd name="connsiteX41" fmla="*/ 1447800 w 2114550"/>
              <a:gd name="connsiteY41" fmla="*/ 142875 h 2200275"/>
              <a:gd name="connsiteX42" fmla="*/ 1619250 w 2114550"/>
              <a:gd name="connsiteY42" fmla="*/ 190500 h 2200275"/>
              <a:gd name="connsiteX43" fmla="*/ 1743075 w 2114550"/>
              <a:gd name="connsiteY43" fmla="*/ 238125 h 2200275"/>
              <a:gd name="connsiteX44" fmla="*/ 1790700 w 2114550"/>
              <a:gd name="connsiteY44" fmla="*/ 266700 h 2200275"/>
              <a:gd name="connsiteX45" fmla="*/ 1828800 w 2114550"/>
              <a:gd name="connsiteY45" fmla="*/ 285750 h 2200275"/>
              <a:gd name="connsiteX46" fmla="*/ 1895475 w 2114550"/>
              <a:gd name="connsiteY46" fmla="*/ 342900 h 2200275"/>
              <a:gd name="connsiteX47" fmla="*/ 1962150 w 2114550"/>
              <a:gd name="connsiteY47" fmla="*/ 400050 h 2200275"/>
              <a:gd name="connsiteX48" fmla="*/ 1990725 w 2114550"/>
              <a:gd name="connsiteY48" fmla="*/ 447675 h 2200275"/>
              <a:gd name="connsiteX49" fmla="*/ 2019300 w 2114550"/>
              <a:gd name="connsiteY49" fmla="*/ 476250 h 2200275"/>
              <a:gd name="connsiteX50" fmla="*/ 2057400 w 2114550"/>
              <a:gd name="connsiteY50" fmla="*/ 552450 h 2200275"/>
              <a:gd name="connsiteX51" fmla="*/ 2076450 w 2114550"/>
              <a:gd name="connsiteY51" fmla="*/ 590550 h 2200275"/>
              <a:gd name="connsiteX52" fmla="*/ 2085975 w 2114550"/>
              <a:gd name="connsiteY52" fmla="*/ 657225 h 2200275"/>
              <a:gd name="connsiteX53" fmla="*/ 2105025 w 2114550"/>
              <a:gd name="connsiteY53" fmla="*/ 762000 h 2200275"/>
              <a:gd name="connsiteX54" fmla="*/ 2114550 w 2114550"/>
              <a:gd name="connsiteY54" fmla="*/ 857250 h 2200275"/>
              <a:gd name="connsiteX55" fmla="*/ 2105025 w 2114550"/>
              <a:gd name="connsiteY55" fmla="*/ 1095375 h 2200275"/>
              <a:gd name="connsiteX56" fmla="*/ 2066925 w 2114550"/>
              <a:gd name="connsiteY56" fmla="*/ 1266825 h 2200275"/>
              <a:gd name="connsiteX57" fmla="*/ 2047875 w 2114550"/>
              <a:gd name="connsiteY57" fmla="*/ 1343025 h 2200275"/>
              <a:gd name="connsiteX58" fmla="*/ 2038350 w 2114550"/>
              <a:gd name="connsiteY58" fmla="*/ 1381125 h 2200275"/>
              <a:gd name="connsiteX59" fmla="*/ 2019300 w 2114550"/>
              <a:gd name="connsiteY59" fmla="*/ 1438275 h 2200275"/>
              <a:gd name="connsiteX60" fmla="*/ 1981200 w 2114550"/>
              <a:gd name="connsiteY60" fmla="*/ 1571625 h 2200275"/>
              <a:gd name="connsiteX61" fmla="*/ 1952625 w 2114550"/>
              <a:gd name="connsiteY61" fmla="*/ 1685925 h 2200275"/>
              <a:gd name="connsiteX62" fmla="*/ 1943100 w 2114550"/>
              <a:gd name="connsiteY62" fmla="*/ 1733550 h 2200275"/>
              <a:gd name="connsiteX63" fmla="*/ 1914525 w 2114550"/>
              <a:gd name="connsiteY63" fmla="*/ 1819275 h 2200275"/>
              <a:gd name="connsiteX64" fmla="*/ 1895475 w 2114550"/>
              <a:gd name="connsiteY64" fmla="*/ 1933575 h 2200275"/>
              <a:gd name="connsiteX65" fmla="*/ 1876425 w 2114550"/>
              <a:gd name="connsiteY65" fmla="*/ 1971675 h 2200275"/>
              <a:gd name="connsiteX66" fmla="*/ 1866900 w 2114550"/>
              <a:gd name="connsiteY66" fmla="*/ 2009775 h 2200275"/>
              <a:gd name="connsiteX67" fmla="*/ 1838325 w 2114550"/>
              <a:gd name="connsiteY67" fmla="*/ 2057400 h 2200275"/>
              <a:gd name="connsiteX68" fmla="*/ 1790700 w 2114550"/>
              <a:gd name="connsiteY68" fmla="*/ 2143125 h 2200275"/>
              <a:gd name="connsiteX69" fmla="*/ 1752600 w 2114550"/>
              <a:gd name="connsiteY69" fmla="*/ 2171700 h 2200275"/>
              <a:gd name="connsiteX70" fmla="*/ 1724025 w 2114550"/>
              <a:gd name="connsiteY70" fmla="*/ 2181225 h 2200275"/>
              <a:gd name="connsiteX71" fmla="*/ 1724025 w 2114550"/>
              <a:gd name="connsiteY71" fmla="*/ 2152650 h 22002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</a:cxnLst>
            <a:rect l="l" t="t" r="r" b="b"/>
            <a:pathLst>
              <a:path w="2114550" h="2200275">
                <a:moveTo>
                  <a:pt x="1724025" y="2152650"/>
                </a:moveTo>
                <a:cubicBezTo>
                  <a:pt x="1704975" y="2149475"/>
                  <a:pt x="1647695" y="2157708"/>
                  <a:pt x="1609725" y="2162175"/>
                </a:cubicBezTo>
                <a:cubicBezTo>
                  <a:pt x="1593647" y="2164067"/>
                  <a:pt x="1578028" y="2168804"/>
                  <a:pt x="1562100" y="2171700"/>
                </a:cubicBezTo>
                <a:cubicBezTo>
                  <a:pt x="1543099" y="2175155"/>
                  <a:pt x="1523951" y="2177770"/>
                  <a:pt x="1504950" y="2181225"/>
                </a:cubicBezTo>
                <a:cubicBezTo>
                  <a:pt x="1489022" y="2184121"/>
                  <a:pt x="1473294" y="2188088"/>
                  <a:pt x="1457325" y="2190750"/>
                </a:cubicBezTo>
                <a:cubicBezTo>
                  <a:pt x="1435180" y="2194441"/>
                  <a:pt x="1412875" y="2197100"/>
                  <a:pt x="1390650" y="2200275"/>
                </a:cubicBezTo>
                <a:lnTo>
                  <a:pt x="609600" y="2181225"/>
                </a:lnTo>
                <a:cubicBezTo>
                  <a:pt x="569431" y="2179886"/>
                  <a:pt x="513788" y="2171419"/>
                  <a:pt x="476250" y="2152650"/>
                </a:cubicBezTo>
                <a:cubicBezTo>
                  <a:pt x="463550" y="2146300"/>
                  <a:pt x="451445" y="2138586"/>
                  <a:pt x="438150" y="2133600"/>
                </a:cubicBezTo>
                <a:cubicBezTo>
                  <a:pt x="373704" y="2109433"/>
                  <a:pt x="425205" y="2137577"/>
                  <a:pt x="371475" y="2114550"/>
                </a:cubicBezTo>
                <a:cubicBezTo>
                  <a:pt x="280855" y="2075713"/>
                  <a:pt x="387578" y="2118205"/>
                  <a:pt x="295275" y="2066925"/>
                </a:cubicBezTo>
                <a:cubicBezTo>
                  <a:pt x="280329" y="2058622"/>
                  <a:pt x="263525" y="2054225"/>
                  <a:pt x="247650" y="2047875"/>
                </a:cubicBezTo>
                <a:cubicBezTo>
                  <a:pt x="238125" y="2038350"/>
                  <a:pt x="230771" y="2025983"/>
                  <a:pt x="219075" y="2019300"/>
                </a:cubicBezTo>
                <a:cubicBezTo>
                  <a:pt x="207709" y="2012805"/>
                  <a:pt x="192684" y="2015629"/>
                  <a:pt x="180975" y="2009775"/>
                </a:cubicBezTo>
                <a:cubicBezTo>
                  <a:pt x="166776" y="2002675"/>
                  <a:pt x="155575" y="1990725"/>
                  <a:pt x="142875" y="1981200"/>
                </a:cubicBezTo>
                <a:cubicBezTo>
                  <a:pt x="136525" y="1968500"/>
                  <a:pt x="131907" y="1954774"/>
                  <a:pt x="123825" y="1943100"/>
                </a:cubicBezTo>
                <a:cubicBezTo>
                  <a:pt x="103219" y="1913336"/>
                  <a:pt x="57150" y="1857375"/>
                  <a:pt x="57150" y="1857375"/>
                </a:cubicBezTo>
                <a:cubicBezTo>
                  <a:pt x="53975" y="1847850"/>
                  <a:pt x="52115" y="1837780"/>
                  <a:pt x="47625" y="1828800"/>
                </a:cubicBezTo>
                <a:cubicBezTo>
                  <a:pt x="42505" y="1818561"/>
                  <a:pt x="30974" y="1811419"/>
                  <a:pt x="28575" y="1800225"/>
                </a:cubicBezTo>
                <a:cubicBezTo>
                  <a:pt x="21227" y="1765934"/>
                  <a:pt x="22721" y="1730326"/>
                  <a:pt x="19050" y="1695450"/>
                </a:cubicBezTo>
                <a:cubicBezTo>
                  <a:pt x="12238" y="1630739"/>
                  <a:pt x="9879" y="1621373"/>
                  <a:pt x="0" y="1562100"/>
                </a:cubicBezTo>
                <a:cubicBezTo>
                  <a:pt x="3175" y="1431925"/>
                  <a:pt x="3869" y="1301666"/>
                  <a:pt x="9525" y="1171575"/>
                </a:cubicBezTo>
                <a:cubicBezTo>
                  <a:pt x="10228" y="1155401"/>
                  <a:pt x="15123" y="1139656"/>
                  <a:pt x="19050" y="1123950"/>
                </a:cubicBezTo>
                <a:cubicBezTo>
                  <a:pt x="52396" y="990567"/>
                  <a:pt x="20994" y="1127966"/>
                  <a:pt x="76200" y="971550"/>
                </a:cubicBezTo>
                <a:cubicBezTo>
                  <a:pt x="84914" y="946861"/>
                  <a:pt x="86157" y="919902"/>
                  <a:pt x="95250" y="895350"/>
                </a:cubicBezTo>
                <a:cubicBezTo>
                  <a:pt x="117983" y="833970"/>
                  <a:pt x="142178" y="772919"/>
                  <a:pt x="171450" y="714375"/>
                </a:cubicBezTo>
                <a:cubicBezTo>
                  <a:pt x="180975" y="695325"/>
                  <a:pt x="192379" y="677104"/>
                  <a:pt x="200025" y="657225"/>
                </a:cubicBezTo>
                <a:cubicBezTo>
                  <a:pt x="256643" y="510017"/>
                  <a:pt x="177618" y="671720"/>
                  <a:pt x="247650" y="523875"/>
                </a:cubicBezTo>
                <a:cubicBezTo>
                  <a:pt x="265885" y="485378"/>
                  <a:pt x="285750" y="447675"/>
                  <a:pt x="304800" y="409575"/>
                </a:cubicBezTo>
                <a:cubicBezTo>
                  <a:pt x="311150" y="396875"/>
                  <a:pt x="318257" y="384526"/>
                  <a:pt x="323850" y="371475"/>
                </a:cubicBezTo>
                <a:cubicBezTo>
                  <a:pt x="333375" y="349250"/>
                  <a:pt x="344292" y="327571"/>
                  <a:pt x="352425" y="304800"/>
                </a:cubicBezTo>
                <a:cubicBezTo>
                  <a:pt x="360199" y="283032"/>
                  <a:pt x="360143" y="258271"/>
                  <a:pt x="371475" y="238125"/>
                </a:cubicBezTo>
                <a:cubicBezTo>
                  <a:pt x="389223" y="206573"/>
                  <a:pt x="424705" y="186011"/>
                  <a:pt x="438150" y="152400"/>
                </a:cubicBezTo>
                <a:cubicBezTo>
                  <a:pt x="444500" y="136525"/>
                  <a:pt x="446941" y="118453"/>
                  <a:pt x="457200" y="104775"/>
                </a:cubicBezTo>
                <a:cubicBezTo>
                  <a:pt x="466725" y="92075"/>
                  <a:pt x="483500" y="86820"/>
                  <a:pt x="495300" y="76200"/>
                </a:cubicBezTo>
                <a:cubicBezTo>
                  <a:pt x="515325" y="58178"/>
                  <a:pt x="525944" y="23869"/>
                  <a:pt x="552450" y="19050"/>
                </a:cubicBezTo>
                <a:lnTo>
                  <a:pt x="657225" y="0"/>
                </a:lnTo>
                <a:cubicBezTo>
                  <a:pt x="758825" y="3175"/>
                  <a:pt x="860793" y="322"/>
                  <a:pt x="962025" y="9525"/>
                </a:cubicBezTo>
                <a:cubicBezTo>
                  <a:pt x="1001136" y="13081"/>
                  <a:pt x="1038709" y="26815"/>
                  <a:pt x="1076325" y="38100"/>
                </a:cubicBezTo>
                <a:cubicBezTo>
                  <a:pt x="1377905" y="128574"/>
                  <a:pt x="981772" y="12251"/>
                  <a:pt x="1257300" y="85725"/>
                </a:cubicBezTo>
                <a:cubicBezTo>
                  <a:pt x="1383086" y="119268"/>
                  <a:pt x="1246252" y="93409"/>
                  <a:pt x="1371600" y="114300"/>
                </a:cubicBezTo>
                <a:cubicBezTo>
                  <a:pt x="1397000" y="123825"/>
                  <a:pt x="1421908" y="134784"/>
                  <a:pt x="1447800" y="142875"/>
                </a:cubicBezTo>
                <a:cubicBezTo>
                  <a:pt x="1550469" y="174959"/>
                  <a:pt x="1506126" y="148079"/>
                  <a:pt x="1619250" y="190500"/>
                </a:cubicBezTo>
                <a:cubicBezTo>
                  <a:pt x="1806028" y="260542"/>
                  <a:pt x="1537678" y="179440"/>
                  <a:pt x="1743075" y="238125"/>
                </a:cubicBezTo>
                <a:cubicBezTo>
                  <a:pt x="1758950" y="247650"/>
                  <a:pt x="1774516" y="257709"/>
                  <a:pt x="1790700" y="266700"/>
                </a:cubicBezTo>
                <a:cubicBezTo>
                  <a:pt x="1803112" y="273596"/>
                  <a:pt x="1816759" y="278225"/>
                  <a:pt x="1828800" y="285750"/>
                </a:cubicBezTo>
                <a:cubicBezTo>
                  <a:pt x="1880223" y="317889"/>
                  <a:pt x="1853514" y="306933"/>
                  <a:pt x="1895475" y="342900"/>
                </a:cubicBezTo>
                <a:cubicBezTo>
                  <a:pt x="1922515" y="366077"/>
                  <a:pt x="1940878" y="371688"/>
                  <a:pt x="1962150" y="400050"/>
                </a:cubicBezTo>
                <a:cubicBezTo>
                  <a:pt x="1973258" y="414861"/>
                  <a:pt x="1979617" y="432864"/>
                  <a:pt x="1990725" y="447675"/>
                </a:cubicBezTo>
                <a:cubicBezTo>
                  <a:pt x="1998807" y="458451"/>
                  <a:pt x="2012068" y="464886"/>
                  <a:pt x="2019300" y="476250"/>
                </a:cubicBezTo>
                <a:cubicBezTo>
                  <a:pt x="2034546" y="500208"/>
                  <a:pt x="2044700" y="527050"/>
                  <a:pt x="2057400" y="552450"/>
                </a:cubicBezTo>
                <a:lnTo>
                  <a:pt x="2076450" y="590550"/>
                </a:lnTo>
                <a:cubicBezTo>
                  <a:pt x="2079625" y="612775"/>
                  <a:pt x="2082284" y="635080"/>
                  <a:pt x="2085975" y="657225"/>
                </a:cubicBezTo>
                <a:cubicBezTo>
                  <a:pt x="2091811" y="692240"/>
                  <a:pt x="2100005" y="726859"/>
                  <a:pt x="2105025" y="762000"/>
                </a:cubicBezTo>
                <a:cubicBezTo>
                  <a:pt x="2109538" y="793588"/>
                  <a:pt x="2111375" y="825500"/>
                  <a:pt x="2114550" y="857250"/>
                </a:cubicBezTo>
                <a:cubicBezTo>
                  <a:pt x="2111375" y="936625"/>
                  <a:pt x="2112929" y="1016331"/>
                  <a:pt x="2105025" y="1095375"/>
                </a:cubicBezTo>
                <a:cubicBezTo>
                  <a:pt x="2085924" y="1286384"/>
                  <a:pt x="2089443" y="1184259"/>
                  <a:pt x="2066925" y="1266825"/>
                </a:cubicBezTo>
                <a:cubicBezTo>
                  <a:pt x="2060036" y="1292084"/>
                  <a:pt x="2054225" y="1317625"/>
                  <a:pt x="2047875" y="1343025"/>
                </a:cubicBezTo>
                <a:cubicBezTo>
                  <a:pt x="2044700" y="1355725"/>
                  <a:pt x="2042490" y="1368706"/>
                  <a:pt x="2038350" y="1381125"/>
                </a:cubicBezTo>
                <a:cubicBezTo>
                  <a:pt x="2032000" y="1400175"/>
                  <a:pt x="2024474" y="1418873"/>
                  <a:pt x="2019300" y="1438275"/>
                </a:cubicBezTo>
                <a:cubicBezTo>
                  <a:pt x="1982886" y="1574829"/>
                  <a:pt x="2019098" y="1476881"/>
                  <a:pt x="1981200" y="1571625"/>
                </a:cubicBezTo>
                <a:cubicBezTo>
                  <a:pt x="1961461" y="1690060"/>
                  <a:pt x="1984970" y="1567327"/>
                  <a:pt x="1952625" y="1685925"/>
                </a:cubicBezTo>
                <a:cubicBezTo>
                  <a:pt x="1948365" y="1701544"/>
                  <a:pt x="1947548" y="1717984"/>
                  <a:pt x="1943100" y="1733550"/>
                </a:cubicBezTo>
                <a:cubicBezTo>
                  <a:pt x="1934825" y="1762512"/>
                  <a:pt x="1919477" y="1789564"/>
                  <a:pt x="1914525" y="1819275"/>
                </a:cubicBezTo>
                <a:cubicBezTo>
                  <a:pt x="1908175" y="1857375"/>
                  <a:pt x="1912749" y="1899027"/>
                  <a:pt x="1895475" y="1933575"/>
                </a:cubicBezTo>
                <a:cubicBezTo>
                  <a:pt x="1889125" y="1946275"/>
                  <a:pt x="1881411" y="1958380"/>
                  <a:pt x="1876425" y="1971675"/>
                </a:cubicBezTo>
                <a:cubicBezTo>
                  <a:pt x="1871828" y="1983932"/>
                  <a:pt x="1872217" y="1997812"/>
                  <a:pt x="1866900" y="2009775"/>
                </a:cubicBezTo>
                <a:cubicBezTo>
                  <a:pt x="1859381" y="2026693"/>
                  <a:pt x="1845986" y="2040546"/>
                  <a:pt x="1838325" y="2057400"/>
                </a:cubicBezTo>
                <a:cubicBezTo>
                  <a:pt x="1807912" y="2124309"/>
                  <a:pt x="1838239" y="2102377"/>
                  <a:pt x="1790700" y="2143125"/>
                </a:cubicBezTo>
                <a:cubicBezTo>
                  <a:pt x="1778647" y="2153456"/>
                  <a:pt x="1766383" y="2163824"/>
                  <a:pt x="1752600" y="2171700"/>
                </a:cubicBezTo>
                <a:cubicBezTo>
                  <a:pt x="1743883" y="2176681"/>
                  <a:pt x="1732379" y="2175656"/>
                  <a:pt x="1724025" y="2181225"/>
                </a:cubicBezTo>
                <a:cubicBezTo>
                  <a:pt x="1721383" y="2182986"/>
                  <a:pt x="1743075" y="2155825"/>
                  <a:pt x="1724025" y="2152650"/>
                </a:cubicBezTo>
                <a:close/>
              </a:path>
            </a:pathLst>
          </a:cu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Freihandform: Form 26">
            <a:extLst>
              <a:ext uri="{FF2B5EF4-FFF2-40B4-BE49-F238E27FC236}">
                <a16:creationId xmlns:a16="http://schemas.microsoft.com/office/drawing/2014/main" id="{10D9E5C6-BFD5-2DD8-F250-8BF6CFE5763F}"/>
              </a:ext>
            </a:extLst>
          </p:cNvPr>
          <p:cNvSpPr/>
          <p:nvPr/>
        </p:nvSpPr>
        <p:spPr>
          <a:xfrm>
            <a:off x="5772150" y="6000750"/>
            <a:ext cx="4229100" cy="1853678"/>
          </a:xfrm>
          <a:custGeom>
            <a:avLst/>
            <a:gdLst>
              <a:gd name="connsiteX0" fmla="*/ 2257425 w 4229100"/>
              <a:gd name="connsiteY0" fmla="*/ 1609725 h 1853678"/>
              <a:gd name="connsiteX1" fmla="*/ 1971675 w 4229100"/>
              <a:gd name="connsiteY1" fmla="*/ 1619250 h 1853678"/>
              <a:gd name="connsiteX2" fmla="*/ 1885950 w 4229100"/>
              <a:gd name="connsiteY2" fmla="*/ 1628775 h 1853678"/>
              <a:gd name="connsiteX3" fmla="*/ 1771650 w 4229100"/>
              <a:gd name="connsiteY3" fmla="*/ 1647825 h 1853678"/>
              <a:gd name="connsiteX4" fmla="*/ 1619250 w 4229100"/>
              <a:gd name="connsiteY4" fmla="*/ 1657350 h 1853678"/>
              <a:gd name="connsiteX5" fmla="*/ 1085850 w 4229100"/>
              <a:gd name="connsiteY5" fmla="*/ 1676400 h 1853678"/>
              <a:gd name="connsiteX6" fmla="*/ 1057275 w 4229100"/>
              <a:gd name="connsiteY6" fmla="*/ 1685925 h 1853678"/>
              <a:gd name="connsiteX7" fmla="*/ 981075 w 4229100"/>
              <a:gd name="connsiteY7" fmla="*/ 1714500 h 1853678"/>
              <a:gd name="connsiteX8" fmla="*/ 952500 w 4229100"/>
              <a:gd name="connsiteY8" fmla="*/ 1733550 h 1853678"/>
              <a:gd name="connsiteX9" fmla="*/ 895350 w 4229100"/>
              <a:gd name="connsiteY9" fmla="*/ 1743075 h 1853678"/>
              <a:gd name="connsiteX10" fmla="*/ 857250 w 4229100"/>
              <a:gd name="connsiteY10" fmla="*/ 1762125 h 1853678"/>
              <a:gd name="connsiteX11" fmla="*/ 809625 w 4229100"/>
              <a:gd name="connsiteY11" fmla="*/ 1771650 h 1853678"/>
              <a:gd name="connsiteX12" fmla="*/ 781050 w 4229100"/>
              <a:gd name="connsiteY12" fmla="*/ 1781175 h 1853678"/>
              <a:gd name="connsiteX13" fmla="*/ 638175 w 4229100"/>
              <a:gd name="connsiteY13" fmla="*/ 1771650 h 1853678"/>
              <a:gd name="connsiteX14" fmla="*/ 600075 w 4229100"/>
              <a:gd name="connsiteY14" fmla="*/ 1743075 h 1853678"/>
              <a:gd name="connsiteX15" fmla="*/ 523875 w 4229100"/>
              <a:gd name="connsiteY15" fmla="*/ 1704975 h 1853678"/>
              <a:gd name="connsiteX16" fmla="*/ 485775 w 4229100"/>
              <a:gd name="connsiteY16" fmla="*/ 1647825 h 1853678"/>
              <a:gd name="connsiteX17" fmla="*/ 371475 w 4229100"/>
              <a:gd name="connsiteY17" fmla="*/ 1504950 h 1853678"/>
              <a:gd name="connsiteX18" fmla="*/ 123825 w 4229100"/>
              <a:gd name="connsiteY18" fmla="*/ 1038225 h 1853678"/>
              <a:gd name="connsiteX19" fmla="*/ 95250 w 4229100"/>
              <a:gd name="connsiteY19" fmla="*/ 952500 h 1853678"/>
              <a:gd name="connsiteX20" fmla="*/ 66675 w 4229100"/>
              <a:gd name="connsiteY20" fmla="*/ 876300 h 1853678"/>
              <a:gd name="connsiteX21" fmla="*/ 47625 w 4229100"/>
              <a:gd name="connsiteY21" fmla="*/ 781050 h 1853678"/>
              <a:gd name="connsiteX22" fmla="*/ 19050 w 4229100"/>
              <a:gd name="connsiteY22" fmla="*/ 704850 h 1853678"/>
              <a:gd name="connsiteX23" fmla="*/ 0 w 4229100"/>
              <a:gd name="connsiteY23" fmla="*/ 628650 h 1853678"/>
              <a:gd name="connsiteX24" fmla="*/ 9525 w 4229100"/>
              <a:gd name="connsiteY24" fmla="*/ 495300 h 1853678"/>
              <a:gd name="connsiteX25" fmla="*/ 85725 w 4229100"/>
              <a:gd name="connsiteY25" fmla="*/ 438150 h 1853678"/>
              <a:gd name="connsiteX26" fmla="*/ 152400 w 4229100"/>
              <a:gd name="connsiteY26" fmla="*/ 409575 h 1853678"/>
              <a:gd name="connsiteX27" fmla="*/ 200025 w 4229100"/>
              <a:gd name="connsiteY27" fmla="*/ 371475 h 1853678"/>
              <a:gd name="connsiteX28" fmla="*/ 371475 w 4229100"/>
              <a:gd name="connsiteY28" fmla="*/ 295275 h 1853678"/>
              <a:gd name="connsiteX29" fmla="*/ 428625 w 4229100"/>
              <a:gd name="connsiteY29" fmla="*/ 257175 h 1853678"/>
              <a:gd name="connsiteX30" fmla="*/ 638175 w 4229100"/>
              <a:gd name="connsiteY30" fmla="*/ 171450 h 1853678"/>
              <a:gd name="connsiteX31" fmla="*/ 790575 w 4229100"/>
              <a:gd name="connsiteY31" fmla="*/ 104775 h 1853678"/>
              <a:gd name="connsiteX32" fmla="*/ 933450 w 4229100"/>
              <a:gd name="connsiteY32" fmla="*/ 66675 h 1853678"/>
              <a:gd name="connsiteX33" fmla="*/ 1038225 w 4229100"/>
              <a:gd name="connsiteY33" fmla="*/ 47625 h 1853678"/>
              <a:gd name="connsiteX34" fmla="*/ 1114425 w 4229100"/>
              <a:gd name="connsiteY34" fmla="*/ 28575 h 1853678"/>
              <a:gd name="connsiteX35" fmla="*/ 1457325 w 4229100"/>
              <a:gd name="connsiteY35" fmla="*/ 9525 h 1853678"/>
              <a:gd name="connsiteX36" fmla="*/ 1962150 w 4229100"/>
              <a:gd name="connsiteY36" fmla="*/ 0 h 1853678"/>
              <a:gd name="connsiteX37" fmla="*/ 2352675 w 4229100"/>
              <a:gd name="connsiteY37" fmla="*/ 19050 h 1853678"/>
              <a:gd name="connsiteX38" fmla="*/ 2571750 w 4229100"/>
              <a:gd name="connsiteY38" fmla="*/ 38100 h 1853678"/>
              <a:gd name="connsiteX39" fmla="*/ 2686050 w 4229100"/>
              <a:gd name="connsiteY39" fmla="*/ 47625 h 1853678"/>
              <a:gd name="connsiteX40" fmla="*/ 3076575 w 4229100"/>
              <a:gd name="connsiteY40" fmla="*/ 57150 h 1853678"/>
              <a:gd name="connsiteX41" fmla="*/ 3248025 w 4229100"/>
              <a:gd name="connsiteY41" fmla="*/ 66675 h 1853678"/>
              <a:gd name="connsiteX42" fmla="*/ 3352800 w 4229100"/>
              <a:gd name="connsiteY42" fmla="*/ 76200 h 1853678"/>
              <a:gd name="connsiteX43" fmla="*/ 3505200 w 4229100"/>
              <a:gd name="connsiteY43" fmla="*/ 85725 h 1853678"/>
              <a:gd name="connsiteX44" fmla="*/ 3705225 w 4229100"/>
              <a:gd name="connsiteY44" fmla="*/ 114300 h 1853678"/>
              <a:gd name="connsiteX45" fmla="*/ 3867150 w 4229100"/>
              <a:gd name="connsiteY45" fmla="*/ 133350 h 1853678"/>
              <a:gd name="connsiteX46" fmla="*/ 3924300 w 4229100"/>
              <a:gd name="connsiteY46" fmla="*/ 152400 h 1853678"/>
              <a:gd name="connsiteX47" fmla="*/ 3981450 w 4229100"/>
              <a:gd name="connsiteY47" fmla="*/ 161925 h 1853678"/>
              <a:gd name="connsiteX48" fmla="*/ 4067175 w 4229100"/>
              <a:gd name="connsiteY48" fmla="*/ 190500 h 1853678"/>
              <a:gd name="connsiteX49" fmla="*/ 4133850 w 4229100"/>
              <a:gd name="connsiteY49" fmla="*/ 219075 h 1853678"/>
              <a:gd name="connsiteX50" fmla="*/ 4181475 w 4229100"/>
              <a:gd name="connsiteY50" fmla="*/ 314325 h 1853678"/>
              <a:gd name="connsiteX51" fmla="*/ 4210050 w 4229100"/>
              <a:gd name="connsiteY51" fmla="*/ 409575 h 1853678"/>
              <a:gd name="connsiteX52" fmla="*/ 4219575 w 4229100"/>
              <a:gd name="connsiteY52" fmla="*/ 457200 h 1853678"/>
              <a:gd name="connsiteX53" fmla="*/ 4229100 w 4229100"/>
              <a:gd name="connsiteY53" fmla="*/ 495300 h 1853678"/>
              <a:gd name="connsiteX54" fmla="*/ 4219575 w 4229100"/>
              <a:gd name="connsiteY54" fmla="*/ 819150 h 1853678"/>
              <a:gd name="connsiteX55" fmla="*/ 4200525 w 4229100"/>
              <a:gd name="connsiteY55" fmla="*/ 885825 h 1853678"/>
              <a:gd name="connsiteX56" fmla="*/ 4171950 w 4229100"/>
              <a:gd name="connsiteY56" fmla="*/ 1028700 h 1853678"/>
              <a:gd name="connsiteX57" fmla="*/ 4152900 w 4229100"/>
              <a:gd name="connsiteY57" fmla="*/ 1104900 h 1853678"/>
              <a:gd name="connsiteX58" fmla="*/ 4095750 w 4229100"/>
              <a:gd name="connsiteY58" fmla="*/ 1238250 h 1853678"/>
              <a:gd name="connsiteX59" fmla="*/ 4067175 w 4229100"/>
              <a:gd name="connsiteY59" fmla="*/ 1276350 h 1853678"/>
              <a:gd name="connsiteX60" fmla="*/ 4048125 w 4229100"/>
              <a:gd name="connsiteY60" fmla="*/ 1333500 h 1853678"/>
              <a:gd name="connsiteX61" fmla="*/ 4000500 w 4229100"/>
              <a:gd name="connsiteY61" fmla="*/ 1447800 h 1853678"/>
              <a:gd name="connsiteX62" fmla="*/ 3952875 w 4229100"/>
              <a:gd name="connsiteY62" fmla="*/ 1543050 h 1853678"/>
              <a:gd name="connsiteX63" fmla="*/ 3943350 w 4229100"/>
              <a:gd name="connsiteY63" fmla="*/ 1581150 h 1853678"/>
              <a:gd name="connsiteX64" fmla="*/ 3867150 w 4229100"/>
              <a:gd name="connsiteY64" fmla="*/ 1657350 h 1853678"/>
              <a:gd name="connsiteX65" fmla="*/ 3810000 w 4229100"/>
              <a:gd name="connsiteY65" fmla="*/ 1724025 h 1853678"/>
              <a:gd name="connsiteX66" fmla="*/ 3781425 w 4229100"/>
              <a:gd name="connsiteY66" fmla="*/ 1762125 h 1853678"/>
              <a:gd name="connsiteX67" fmla="*/ 3752850 w 4229100"/>
              <a:gd name="connsiteY67" fmla="*/ 1771650 h 1853678"/>
              <a:gd name="connsiteX68" fmla="*/ 3676650 w 4229100"/>
              <a:gd name="connsiteY68" fmla="*/ 1809750 h 1853678"/>
              <a:gd name="connsiteX69" fmla="*/ 3505200 w 4229100"/>
              <a:gd name="connsiteY69" fmla="*/ 1828800 h 1853678"/>
              <a:gd name="connsiteX70" fmla="*/ 3209925 w 4229100"/>
              <a:gd name="connsiteY70" fmla="*/ 1838325 h 1853678"/>
              <a:gd name="connsiteX71" fmla="*/ 3086100 w 4229100"/>
              <a:gd name="connsiteY71" fmla="*/ 1800225 h 1853678"/>
              <a:gd name="connsiteX72" fmla="*/ 3028950 w 4229100"/>
              <a:gd name="connsiteY72" fmla="*/ 1790700 h 1853678"/>
              <a:gd name="connsiteX73" fmla="*/ 2914650 w 4229100"/>
              <a:gd name="connsiteY73" fmla="*/ 1752600 h 1853678"/>
              <a:gd name="connsiteX74" fmla="*/ 2876550 w 4229100"/>
              <a:gd name="connsiteY74" fmla="*/ 1743075 h 1853678"/>
              <a:gd name="connsiteX75" fmla="*/ 2619375 w 4229100"/>
              <a:gd name="connsiteY75" fmla="*/ 1704975 h 1853678"/>
              <a:gd name="connsiteX76" fmla="*/ 2571750 w 4229100"/>
              <a:gd name="connsiteY76" fmla="*/ 1695450 h 1853678"/>
              <a:gd name="connsiteX77" fmla="*/ 2495550 w 4229100"/>
              <a:gd name="connsiteY77" fmla="*/ 1676400 h 1853678"/>
              <a:gd name="connsiteX78" fmla="*/ 2419350 w 4229100"/>
              <a:gd name="connsiteY78" fmla="*/ 1666875 h 1853678"/>
              <a:gd name="connsiteX79" fmla="*/ 2381250 w 4229100"/>
              <a:gd name="connsiteY79" fmla="*/ 1657350 h 1853678"/>
              <a:gd name="connsiteX80" fmla="*/ 2295525 w 4229100"/>
              <a:gd name="connsiteY80" fmla="*/ 1638300 h 1853678"/>
              <a:gd name="connsiteX81" fmla="*/ 2257425 w 4229100"/>
              <a:gd name="connsiteY81" fmla="*/ 1609725 h 18536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</a:cxnLst>
            <a:rect l="l" t="t" r="r" b="b"/>
            <a:pathLst>
              <a:path w="4229100" h="1853678">
                <a:moveTo>
                  <a:pt x="2257425" y="1609725"/>
                </a:moveTo>
                <a:cubicBezTo>
                  <a:pt x="2203450" y="1606550"/>
                  <a:pt x="2066853" y="1614369"/>
                  <a:pt x="1971675" y="1619250"/>
                </a:cubicBezTo>
                <a:cubicBezTo>
                  <a:pt x="1942962" y="1620722"/>
                  <a:pt x="1914412" y="1624709"/>
                  <a:pt x="1885950" y="1628775"/>
                </a:cubicBezTo>
                <a:cubicBezTo>
                  <a:pt x="1847713" y="1634237"/>
                  <a:pt x="1810200" y="1645416"/>
                  <a:pt x="1771650" y="1647825"/>
                </a:cubicBezTo>
                <a:lnTo>
                  <a:pt x="1619250" y="1657350"/>
                </a:lnTo>
                <a:cubicBezTo>
                  <a:pt x="1417718" y="1707733"/>
                  <a:pt x="1635009" y="1656431"/>
                  <a:pt x="1085850" y="1676400"/>
                </a:cubicBezTo>
                <a:cubicBezTo>
                  <a:pt x="1075816" y="1676765"/>
                  <a:pt x="1066929" y="1683167"/>
                  <a:pt x="1057275" y="1685925"/>
                </a:cubicBezTo>
                <a:cubicBezTo>
                  <a:pt x="1010396" y="1699319"/>
                  <a:pt x="1025465" y="1689134"/>
                  <a:pt x="981075" y="1714500"/>
                </a:cubicBezTo>
                <a:cubicBezTo>
                  <a:pt x="971136" y="1720180"/>
                  <a:pt x="963360" y="1729930"/>
                  <a:pt x="952500" y="1733550"/>
                </a:cubicBezTo>
                <a:cubicBezTo>
                  <a:pt x="934178" y="1739657"/>
                  <a:pt x="914400" y="1739900"/>
                  <a:pt x="895350" y="1743075"/>
                </a:cubicBezTo>
                <a:cubicBezTo>
                  <a:pt x="882650" y="1749425"/>
                  <a:pt x="870720" y="1757635"/>
                  <a:pt x="857250" y="1762125"/>
                </a:cubicBezTo>
                <a:cubicBezTo>
                  <a:pt x="841891" y="1767245"/>
                  <a:pt x="825331" y="1767723"/>
                  <a:pt x="809625" y="1771650"/>
                </a:cubicBezTo>
                <a:cubicBezTo>
                  <a:pt x="799885" y="1774085"/>
                  <a:pt x="790575" y="1778000"/>
                  <a:pt x="781050" y="1781175"/>
                </a:cubicBezTo>
                <a:cubicBezTo>
                  <a:pt x="733425" y="1778000"/>
                  <a:pt x="684882" y="1781483"/>
                  <a:pt x="638175" y="1771650"/>
                </a:cubicBezTo>
                <a:cubicBezTo>
                  <a:pt x="622641" y="1768380"/>
                  <a:pt x="613952" y="1750785"/>
                  <a:pt x="600075" y="1743075"/>
                </a:cubicBezTo>
                <a:cubicBezTo>
                  <a:pt x="460266" y="1665403"/>
                  <a:pt x="621280" y="1769912"/>
                  <a:pt x="523875" y="1704975"/>
                </a:cubicBezTo>
                <a:cubicBezTo>
                  <a:pt x="511175" y="1685925"/>
                  <a:pt x="499734" y="1665972"/>
                  <a:pt x="485775" y="1647825"/>
                </a:cubicBezTo>
                <a:cubicBezTo>
                  <a:pt x="442287" y="1591291"/>
                  <a:pt x="408958" y="1567421"/>
                  <a:pt x="371475" y="1504950"/>
                </a:cubicBezTo>
                <a:cubicBezTo>
                  <a:pt x="348735" y="1467050"/>
                  <a:pt x="146585" y="1106504"/>
                  <a:pt x="123825" y="1038225"/>
                </a:cubicBezTo>
                <a:cubicBezTo>
                  <a:pt x="114300" y="1009650"/>
                  <a:pt x="105275" y="980904"/>
                  <a:pt x="95250" y="952500"/>
                </a:cubicBezTo>
                <a:cubicBezTo>
                  <a:pt x="86222" y="926919"/>
                  <a:pt x="73935" y="902438"/>
                  <a:pt x="66675" y="876300"/>
                </a:cubicBezTo>
                <a:cubicBezTo>
                  <a:pt x="58009" y="845102"/>
                  <a:pt x="56291" y="812248"/>
                  <a:pt x="47625" y="781050"/>
                </a:cubicBezTo>
                <a:cubicBezTo>
                  <a:pt x="40365" y="754912"/>
                  <a:pt x="27141" y="730742"/>
                  <a:pt x="19050" y="704850"/>
                </a:cubicBezTo>
                <a:cubicBezTo>
                  <a:pt x="11241" y="679860"/>
                  <a:pt x="6350" y="654050"/>
                  <a:pt x="0" y="628650"/>
                </a:cubicBezTo>
                <a:cubicBezTo>
                  <a:pt x="3175" y="584200"/>
                  <a:pt x="-2402" y="538237"/>
                  <a:pt x="9525" y="495300"/>
                </a:cubicBezTo>
                <a:cubicBezTo>
                  <a:pt x="16883" y="468811"/>
                  <a:pt x="63802" y="448115"/>
                  <a:pt x="85725" y="438150"/>
                </a:cubicBezTo>
                <a:cubicBezTo>
                  <a:pt x="107738" y="428144"/>
                  <a:pt x="131514" y="421759"/>
                  <a:pt x="152400" y="409575"/>
                </a:cubicBezTo>
                <a:cubicBezTo>
                  <a:pt x="169961" y="399331"/>
                  <a:pt x="182177" y="381210"/>
                  <a:pt x="200025" y="371475"/>
                </a:cubicBezTo>
                <a:cubicBezTo>
                  <a:pt x="382589" y="271894"/>
                  <a:pt x="58895" y="503661"/>
                  <a:pt x="371475" y="295275"/>
                </a:cubicBezTo>
                <a:cubicBezTo>
                  <a:pt x="390525" y="282575"/>
                  <a:pt x="408390" y="267887"/>
                  <a:pt x="428625" y="257175"/>
                </a:cubicBezTo>
                <a:cubicBezTo>
                  <a:pt x="548500" y="193712"/>
                  <a:pt x="515491" y="223106"/>
                  <a:pt x="638175" y="171450"/>
                </a:cubicBezTo>
                <a:cubicBezTo>
                  <a:pt x="777943" y="112600"/>
                  <a:pt x="650240" y="151553"/>
                  <a:pt x="790575" y="104775"/>
                </a:cubicBezTo>
                <a:cubicBezTo>
                  <a:pt x="818823" y="95359"/>
                  <a:pt x="906868" y="72271"/>
                  <a:pt x="933450" y="66675"/>
                </a:cubicBezTo>
                <a:cubicBezTo>
                  <a:pt x="968186" y="59362"/>
                  <a:pt x="1003489" y="54938"/>
                  <a:pt x="1038225" y="47625"/>
                </a:cubicBezTo>
                <a:cubicBezTo>
                  <a:pt x="1063845" y="42231"/>
                  <a:pt x="1088506" y="32278"/>
                  <a:pt x="1114425" y="28575"/>
                </a:cubicBezTo>
                <a:cubicBezTo>
                  <a:pt x="1178121" y="19476"/>
                  <a:pt x="1431742" y="10198"/>
                  <a:pt x="1457325" y="9525"/>
                </a:cubicBezTo>
                <a:lnTo>
                  <a:pt x="1962150" y="0"/>
                </a:lnTo>
                <a:lnTo>
                  <a:pt x="2352675" y="19050"/>
                </a:lnTo>
                <a:cubicBezTo>
                  <a:pt x="2425833" y="23622"/>
                  <a:pt x="2498717" y="31840"/>
                  <a:pt x="2571750" y="38100"/>
                </a:cubicBezTo>
                <a:cubicBezTo>
                  <a:pt x="2609842" y="41365"/>
                  <a:pt x="2647829" y="46693"/>
                  <a:pt x="2686050" y="47625"/>
                </a:cubicBezTo>
                <a:lnTo>
                  <a:pt x="3076575" y="57150"/>
                </a:lnTo>
                <a:lnTo>
                  <a:pt x="3248025" y="66675"/>
                </a:lnTo>
                <a:cubicBezTo>
                  <a:pt x="3283011" y="69088"/>
                  <a:pt x="3317827" y="73609"/>
                  <a:pt x="3352800" y="76200"/>
                </a:cubicBezTo>
                <a:cubicBezTo>
                  <a:pt x="3403560" y="79960"/>
                  <a:pt x="3454400" y="82550"/>
                  <a:pt x="3505200" y="85725"/>
                </a:cubicBezTo>
                <a:lnTo>
                  <a:pt x="3705225" y="114300"/>
                </a:lnTo>
                <a:cubicBezTo>
                  <a:pt x="3809954" y="127391"/>
                  <a:pt x="3755984" y="120998"/>
                  <a:pt x="3867150" y="133350"/>
                </a:cubicBezTo>
                <a:cubicBezTo>
                  <a:pt x="3886200" y="139700"/>
                  <a:pt x="3904819" y="147530"/>
                  <a:pt x="3924300" y="152400"/>
                </a:cubicBezTo>
                <a:cubicBezTo>
                  <a:pt x="3943036" y="157084"/>
                  <a:pt x="3962789" y="156949"/>
                  <a:pt x="3981450" y="161925"/>
                </a:cubicBezTo>
                <a:cubicBezTo>
                  <a:pt x="4010554" y="169686"/>
                  <a:pt x="4040234" y="177030"/>
                  <a:pt x="4067175" y="190500"/>
                </a:cubicBezTo>
                <a:cubicBezTo>
                  <a:pt x="4114255" y="214040"/>
                  <a:pt x="4091805" y="205060"/>
                  <a:pt x="4133850" y="219075"/>
                </a:cubicBezTo>
                <a:cubicBezTo>
                  <a:pt x="4149725" y="250825"/>
                  <a:pt x="4174513" y="279517"/>
                  <a:pt x="4181475" y="314325"/>
                </a:cubicBezTo>
                <a:cubicBezTo>
                  <a:pt x="4206219" y="438043"/>
                  <a:pt x="4172456" y="284262"/>
                  <a:pt x="4210050" y="409575"/>
                </a:cubicBezTo>
                <a:cubicBezTo>
                  <a:pt x="4214702" y="425082"/>
                  <a:pt x="4216063" y="441396"/>
                  <a:pt x="4219575" y="457200"/>
                </a:cubicBezTo>
                <a:cubicBezTo>
                  <a:pt x="4222415" y="469979"/>
                  <a:pt x="4225925" y="482600"/>
                  <a:pt x="4229100" y="495300"/>
                </a:cubicBezTo>
                <a:cubicBezTo>
                  <a:pt x="4225925" y="603250"/>
                  <a:pt x="4227456" y="711441"/>
                  <a:pt x="4219575" y="819150"/>
                </a:cubicBezTo>
                <a:cubicBezTo>
                  <a:pt x="4217888" y="842203"/>
                  <a:pt x="4204785" y="863107"/>
                  <a:pt x="4200525" y="885825"/>
                </a:cubicBezTo>
                <a:cubicBezTo>
                  <a:pt x="4154308" y="1132313"/>
                  <a:pt x="4224170" y="845932"/>
                  <a:pt x="4171950" y="1028700"/>
                </a:cubicBezTo>
                <a:cubicBezTo>
                  <a:pt x="4164757" y="1053874"/>
                  <a:pt x="4162624" y="1080591"/>
                  <a:pt x="4152900" y="1104900"/>
                </a:cubicBezTo>
                <a:cubicBezTo>
                  <a:pt x="4146286" y="1121435"/>
                  <a:pt x="4114829" y="1207723"/>
                  <a:pt x="4095750" y="1238250"/>
                </a:cubicBezTo>
                <a:cubicBezTo>
                  <a:pt x="4087336" y="1251712"/>
                  <a:pt x="4076700" y="1263650"/>
                  <a:pt x="4067175" y="1276350"/>
                </a:cubicBezTo>
                <a:cubicBezTo>
                  <a:pt x="4060825" y="1295400"/>
                  <a:pt x="4055403" y="1314785"/>
                  <a:pt x="4048125" y="1333500"/>
                </a:cubicBezTo>
                <a:cubicBezTo>
                  <a:pt x="4033165" y="1371968"/>
                  <a:pt x="4013552" y="1408643"/>
                  <a:pt x="4000500" y="1447800"/>
                </a:cubicBezTo>
                <a:cubicBezTo>
                  <a:pt x="3976430" y="1520010"/>
                  <a:pt x="3993498" y="1488886"/>
                  <a:pt x="3952875" y="1543050"/>
                </a:cubicBezTo>
                <a:cubicBezTo>
                  <a:pt x="3949700" y="1555750"/>
                  <a:pt x="3949707" y="1569707"/>
                  <a:pt x="3943350" y="1581150"/>
                </a:cubicBezTo>
                <a:cubicBezTo>
                  <a:pt x="3920485" y="1622307"/>
                  <a:pt x="3901874" y="1631307"/>
                  <a:pt x="3867150" y="1657350"/>
                </a:cubicBezTo>
                <a:cubicBezTo>
                  <a:pt x="3829941" y="1731768"/>
                  <a:pt x="3871824" y="1662201"/>
                  <a:pt x="3810000" y="1724025"/>
                </a:cubicBezTo>
                <a:cubicBezTo>
                  <a:pt x="3798775" y="1735250"/>
                  <a:pt x="3793621" y="1751962"/>
                  <a:pt x="3781425" y="1762125"/>
                </a:cubicBezTo>
                <a:cubicBezTo>
                  <a:pt x="3773712" y="1768553"/>
                  <a:pt x="3761990" y="1767495"/>
                  <a:pt x="3752850" y="1771650"/>
                </a:cubicBezTo>
                <a:cubicBezTo>
                  <a:pt x="3726997" y="1783401"/>
                  <a:pt x="3704662" y="1805081"/>
                  <a:pt x="3676650" y="1809750"/>
                </a:cubicBezTo>
                <a:cubicBezTo>
                  <a:pt x="3581788" y="1825560"/>
                  <a:pt x="3638746" y="1817671"/>
                  <a:pt x="3505200" y="1828800"/>
                </a:cubicBezTo>
                <a:cubicBezTo>
                  <a:pt x="3371589" y="1862203"/>
                  <a:pt x="3417467" y="1858410"/>
                  <a:pt x="3209925" y="1838325"/>
                </a:cubicBezTo>
                <a:cubicBezTo>
                  <a:pt x="3118264" y="1829455"/>
                  <a:pt x="3157299" y="1819643"/>
                  <a:pt x="3086100" y="1800225"/>
                </a:cubicBezTo>
                <a:cubicBezTo>
                  <a:pt x="3067468" y="1795143"/>
                  <a:pt x="3047768" y="1795043"/>
                  <a:pt x="3028950" y="1790700"/>
                </a:cubicBezTo>
                <a:cubicBezTo>
                  <a:pt x="2929653" y="1767785"/>
                  <a:pt x="2995706" y="1779619"/>
                  <a:pt x="2914650" y="1752600"/>
                </a:cubicBezTo>
                <a:cubicBezTo>
                  <a:pt x="2902231" y="1748460"/>
                  <a:pt x="2889410" y="1745524"/>
                  <a:pt x="2876550" y="1743075"/>
                </a:cubicBezTo>
                <a:cubicBezTo>
                  <a:pt x="2580506" y="1686686"/>
                  <a:pt x="2828949" y="1732918"/>
                  <a:pt x="2619375" y="1704975"/>
                </a:cubicBezTo>
                <a:cubicBezTo>
                  <a:pt x="2603328" y="1702835"/>
                  <a:pt x="2587525" y="1699090"/>
                  <a:pt x="2571750" y="1695450"/>
                </a:cubicBezTo>
                <a:cubicBezTo>
                  <a:pt x="2546239" y="1689563"/>
                  <a:pt x="2521530" y="1679647"/>
                  <a:pt x="2495550" y="1676400"/>
                </a:cubicBezTo>
                <a:cubicBezTo>
                  <a:pt x="2470150" y="1673225"/>
                  <a:pt x="2444599" y="1671083"/>
                  <a:pt x="2419350" y="1666875"/>
                </a:cubicBezTo>
                <a:cubicBezTo>
                  <a:pt x="2406437" y="1664723"/>
                  <a:pt x="2394029" y="1660190"/>
                  <a:pt x="2381250" y="1657350"/>
                </a:cubicBezTo>
                <a:cubicBezTo>
                  <a:pt x="2337056" y="1647529"/>
                  <a:pt x="2336177" y="1649915"/>
                  <a:pt x="2295525" y="1638300"/>
                </a:cubicBezTo>
                <a:cubicBezTo>
                  <a:pt x="2258673" y="1627771"/>
                  <a:pt x="2311400" y="1612900"/>
                  <a:pt x="2257425" y="1609725"/>
                </a:cubicBezTo>
                <a:close/>
              </a:path>
            </a:pathLst>
          </a:cu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8252228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15DB0827-7C39-D22E-6433-C7DBC919B4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394674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51" imgH="351" progId="TCLayout.ActiveDocument.1">
                  <p:embed/>
                </p:oleObj>
              </mc:Choice>
              <mc:Fallback>
                <p:oleObj name="think-cell Folie" r:id="rId3" imgW="351" imgH="351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15DB0827-7C39-D22E-6433-C7DBC919B4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feld 4">
            <a:extLst>
              <a:ext uri="{FF2B5EF4-FFF2-40B4-BE49-F238E27FC236}">
                <a16:creationId xmlns:a16="http://schemas.microsoft.com/office/drawing/2014/main" id="{D26779B1-255B-A676-3AA4-656C3B6EEED5}"/>
              </a:ext>
            </a:extLst>
          </p:cNvPr>
          <p:cNvSpPr txBox="1"/>
          <p:nvPr/>
        </p:nvSpPr>
        <p:spPr>
          <a:xfrm>
            <a:off x="726770" y="572979"/>
            <a:ext cx="12706350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514350" indent="-514350">
              <a:buFont typeface="+mj-lt"/>
              <a:buAutoNum type="arabicParenR" startAt="3"/>
            </a:pPr>
            <a:r>
              <a:rPr lang="en-US" sz="2800" dirty="0"/>
              <a:t>Mouseover over one of multiple representative points (example marked with x). I suggest you use minimum 4 points (top-left, top-right, bottom-left, bottom-right), but it can be more.</a:t>
            </a:r>
          </a:p>
        </p:txBody>
      </p:sp>
      <p:sp>
        <p:nvSpPr>
          <p:cNvPr id="26" name="Textfeld 25">
            <a:extLst>
              <a:ext uri="{FF2B5EF4-FFF2-40B4-BE49-F238E27FC236}">
                <a16:creationId xmlns:a16="http://schemas.microsoft.com/office/drawing/2014/main" id="{25FA19B1-5DDF-CFA3-49C3-2FDE9377164B}"/>
              </a:ext>
            </a:extLst>
          </p:cNvPr>
          <p:cNvSpPr txBox="1"/>
          <p:nvPr/>
        </p:nvSpPr>
        <p:spPr>
          <a:xfrm>
            <a:off x="1010336" y="7336097"/>
            <a:ext cx="11723787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514350" indent="-514350">
              <a:buFont typeface="+mj-lt"/>
              <a:buAutoNum type="arabicParenR" startAt="4"/>
            </a:pPr>
            <a:r>
              <a:rPr lang="en-US" sz="2800" dirty="0"/>
              <a:t>Get the x (tSNE1) and y (tSNE2) coordinates from the interactive html plot:</a:t>
            </a:r>
          </a:p>
        </p:txBody>
      </p:sp>
      <p:pic>
        <p:nvPicPr>
          <p:cNvPr id="27" name="Grafik 26">
            <a:extLst>
              <a:ext uri="{FF2B5EF4-FFF2-40B4-BE49-F238E27FC236}">
                <a16:creationId xmlns:a16="http://schemas.microsoft.com/office/drawing/2014/main" id="{436799AB-9C63-6376-BB0F-DD9FBA8BCAF9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64745" y="7977137"/>
            <a:ext cx="5663441" cy="5394737"/>
          </a:xfrm>
          <a:prstGeom prst="rect">
            <a:avLst/>
          </a:prstGeom>
        </p:spPr>
      </p:pic>
      <p:sp>
        <p:nvSpPr>
          <p:cNvPr id="28" name="Textfeld 27">
            <a:extLst>
              <a:ext uri="{FF2B5EF4-FFF2-40B4-BE49-F238E27FC236}">
                <a16:creationId xmlns:a16="http://schemas.microsoft.com/office/drawing/2014/main" id="{80356F9B-1809-8029-3CA0-9EA52FB351B1}"/>
              </a:ext>
            </a:extLst>
          </p:cNvPr>
          <p:cNvSpPr txBox="1"/>
          <p:nvPr/>
        </p:nvSpPr>
        <p:spPr>
          <a:xfrm>
            <a:off x="7353300" y="9693127"/>
            <a:ext cx="3735318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3600" dirty="0"/>
              <a:t>tSNE1 = -58.13599</a:t>
            </a:r>
          </a:p>
          <a:p>
            <a:r>
              <a:rPr lang="en-US" sz="3600" dirty="0"/>
              <a:t>tSNE2 = 28.63137</a:t>
            </a:r>
          </a:p>
        </p:txBody>
      </p:sp>
      <p:grpSp>
        <p:nvGrpSpPr>
          <p:cNvPr id="7" name="Gruppieren 6">
            <a:extLst>
              <a:ext uri="{FF2B5EF4-FFF2-40B4-BE49-F238E27FC236}">
                <a16:creationId xmlns:a16="http://schemas.microsoft.com/office/drawing/2014/main" id="{34CFA39A-801E-90A7-3221-2A373D1A62E6}"/>
              </a:ext>
            </a:extLst>
          </p:cNvPr>
          <p:cNvGrpSpPr/>
          <p:nvPr/>
        </p:nvGrpSpPr>
        <p:grpSpPr>
          <a:xfrm>
            <a:off x="1731965" y="2112301"/>
            <a:ext cx="2942881" cy="3980625"/>
            <a:chOff x="-1" y="5000017"/>
            <a:chExt cx="2942881" cy="3980625"/>
          </a:xfrm>
        </p:grpSpPr>
        <p:pic>
          <p:nvPicPr>
            <p:cNvPr id="29" name="Grafik 28">
              <a:extLst>
                <a:ext uri="{FF2B5EF4-FFF2-40B4-BE49-F238E27FC236}">
                  <a16:creationId xmlns:a16="http://schemas.microsoft.com/office/drawing/2014/main" id="{CA0CE71E-0591-3869-4BAD-03FD11C10FA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8148" t="25726" r="71691" b="43311"/>
            <a:stretch/>
          </p:blipFill>
          <p:spPr>
            <a:xfrm>
              <a:off x="-1" y="5000017"/>
              <a:ext cx="2942881" cy="3980625"/>
            </a:xfrm>
            <a:prstGeom prst="rect">
              <a:avLst/>
            </a:prstGeom>
          </p:spPr>
        </p:pic>
        <p:sp>
          <p:nvSpPr>
            <p:cNvPr id="30" name="Freihandform: Form 29">
              <a:extLst>
                <a:ext uri="{FF2B5EF4-FFF2-40B4-BE49-F238E27FC236}">
                  <a16:creationId xmlns:a16="http://schemas.microsoft.com/office/drawing/2014/main" id="{2A551B1C-E772-F1E4-F3BB-312FDEC2CB18}"/>
                </a:ext>
              </a:extLst>
            </p:cNvPr>
            <p:cNvSpPr/>
            <p:nvPr/>
          </p:nvSpPr>
          <p:spPr>
            <a:xfrm>
              <a:off x="302835" y="5191125"/>
              <a:ext cx="2497515" cy="3781425"/>
            </a:xfrm>
            <a:custGeom>
              <a:avLst/>
              <a:gdLst>
                <a:gd name="connsiteX0" fmla="*/ 21015 w 2497515"/>
                <a:gd name="connsiteY0" fmla="*/ 495300 h 3781425"/>
                <a:gd name="connsiteX1" fmla="*/ 144840 w 2497515"/>
                <a:gd name="connsiteY1" fmla="*/ 371475 h 3781425"/>
                <a:gd name="connsiteX2" fmla="*/ 297240 w 2497515"/>
                <a:gd name="connsiteY2" fmla="*/ 276225 h 3781425"/>
                <a:gd name="connsiteX3" fmla="*/ 630615 w 2497515"/>
                <a:gd name="connsiteY3" fmla="*/ 123825 h 3781425"/>
                <a:gd name="connsiteX4" fmla="*/ 916365 w 2497515"/>
                <a:gd name="connsiteY4" fmla="*/ 57150 h 3781425"/>
                <a:gd name="connsiteX5" fmla="*/ 1040190 w 2497515"/>
                <a:gd name="connsiteY5" fmla="*/ 28575 h 3781425"/>
                <a:gd name="connsiteX6" fmla="*/ 1135440 w 2497515"/>
                <a:gd name="connsiteY6" fmla="*/ 19050 h 3781425"/>
                <a:gd name="connsiteX7" fmla="*/ 1259265 w 2497515"/>
                <a:gd name="connsiteY7" fmla="*/ 0 h 3781425"/>
                <a:gd name="connsiteX8" fmla="*/ 1773615 w 2497515"/>
                <a:gd name="connsiteY8" fmla="*/ 28575 h 3781425"/>
                <a:gd name="connsiteX9" fmla="*/ 1830765 w 2497515"/>
                <a:gd name="connsiteY9" fmla="*/ 76200 h 3781425"/>
                <a:gd name="connsiteX10" fmla="*/ 1897440 w 2497515"/>
                <a:gd name="connsiteY10" fmla="*/ 190500 h 3781425"/>
                <a:gd name="connsiteX11" fmla="*/ 1964115 w 2497515"/>
                <a:gd name="connsiteY11" fmla="*/ 466725 h 3781425"/>
                <a:gd name="connsiteX12" fmla="*/ 1992690 w 2497515"/>
                <a:gd name="connsiteY12" fmla="*/ 581025 h 3781425"/>
                <a:gd name="connsiteX13" fmla="*/ 2030790 w 2497515"/>
                <a:gd name="connsiteY13" fmla="*/ 695325 h 3781425"/>
                <a:gd name="connsiteX14" fmla="*/ 2097465 w 2497515"/>
                <a:gd name="connsiteY14" fmla="*/ 933450 h 3781425"/>
                <a:gd name="connsiteX15" fmla="*/ 2116515 w 2497515"/>
                <a:gd name="connsiteY15" fmla="*/ 1038225 h 3781425"/>
                <a:gd name="connsiteX16" fmla="*/ 2164140 w 2497515"/>
                <a:gd name="connsiteY16" fmla="*/ 1162050 h 3781425"/>
                <a:gd name="connsiteX17" fmla="*/ 2230815 w 2497515"/>
                <a:gd name="connsiteY17" fmla="*/ 1390650 h 3781425"/>
                <a:gd name="connsiteX18" fmla="*/ 2268915 w 2497515"/>
                <a:gd name="connsiteY18" fmla="*/ 1524000 h 3781425"/>
                <a:gd name="connsiteX19" fmla="*/ 2287965 w 2497515"/>
                <a:gd name="connsiteY19" fmla="*/ 1619250 h 3781425"/>
                <a:gd name="connsiteX20" fmla="*/ 2316540 w 2497515"/>
                <a:gd name="connsiteY20" fmla="*/ 1714500 h 3781425"/>
                <a:gd name="connsiteX21" fmla="*/ 2345115 w 2497515"/>
                <a:gd name="connsiteY21" fmla="*/ 1866900 h 3781425"/>
                <a:gd name="connsiteX22" fmla="*/ 2392740 w 2497515"/>
                <a:gd name="connsiteY22" fmla="*/ 2171700 h 3781425"/>
                <a:gd name="connsiteX23" fmla="*/ 2421315 w 2497515"/>
                <a:gd name="connsiteY23" fmla="*/ 2276475 h 3781425"/>
                <a:gd name="connsiteX24" fmla="*/ 2468940 w 2497515"/>
                <a:gd name="connsiteY24" fmla="*/ 2495550 h 3781425"/>
                <a:gd name="connsiteX25" fmla="*/ 2487990 w 2497515"/>
                <a:gd name="connsiteY25" fmla="*/ 2619375 h 3781425"/>
                <a:gd name="connsiteX26" fmla="*/ 2497515 w 2497515"/>
                <a:gd name="connsiteY26" fmla="*/ 2676525 h 3781425"/>
                <a:gd name="connsiteX27" fmla="*/ 2478465 w 2497515"/>
                <a:gd name="connsiteY27" fmla="*/ 2847975 h 3781425"/>
                <a:gd name="connsiteX28" fmla="*/ 2421315 w 2497515"/>
                <a:gd name="connsiteY28" fmla="*/ 2971800 h 3781425"/>
                <a:gd name="connsiteX29" fmla="*/ 2354640 w 2497515"/>
                <a:gd name="connsiteY29" fmla="*/ 3095625 h 3781425"/>
                <a:gd name="connsiteX30" fmla="*/ 2240340 w 2497515"/>
                <a:gd name="connsiteY30" fmla="*/ 3219450 h 3781425"/>
                <a:gd name="connsiteX31" fmla="*/ 2068890 w 2497515"/>
                <a:gd name="connsiteY31" fmla="*/ 3371850 h 3781425"/>
                <a:gd name="connsiteX32" fmla="*/ 1954590 w 2497515"/>
                <a:gd name="connsiteY32" fmla="*/ 3448050 h 3781425"/>
                <a:gd name="connsiteX33" fmla="*/ 1878390 w 2497515"/>
                <a:gd name="connsiteY33" fmla="*/ 3514725 h 3781425"/>
                <a:gd name="connsiteX34" fmla="*/ 1706940 w 2497515"/>
                <a:gd name="connsiteY34" fmla="*/ 3600450 h 3781425"/>
                <a:gd name="connsiteX35" fmla="*/ 1630740 w 2497515"/>
                <a:gd name="connsiteY35" fmla="*/ 3638550 h 3781425"/>
                <a:gd name="connsiteX36" fmla="*/ 1478340 w 2497515"/>
                <a:gd name="connsiteY36" fmla="*/ 3686175 h 3781425"/>
                <a:gd name="connsiteX37" fmla="*/ 1402140 w 2497515"/>
                <a:gd name="connsiteY37" fmla="*/ 3714750 h 3781425"/>
                <a:gd name="connsiteX38" fmla="*/ 1287840 w 2497515"/>
                <a:gd name="connsiteY38" fmla="*/ 3733800 h 3781425"/>
                <a:gd name="connsiteX39" fmla="*/ 1002090 w 2497515"/>
                <a:gd name="connsiteY39" fmla="*/ 3781425 h 3781425"/>
                <a:gd name="connsiteX40" fmla="*/ 840165 w 2497515"/>
                <a:gd name="connsiteY40" fmla="*/ 3752850 h 3781425"/>
                <a:gd name="connsiteX41" fmla="*/ 649665 w 2497515"/>
                <a:gd name="connsiteY41" fmla="*/ 3543300 h 3781425"/>
                <a:gd name="connsiteX42" fmla="*/ 506790 w 2497515"/>
                <a:gd name="connsiteY42" fmla="*/ 3333750 h 3781425"/>
                <a:gd name="connsiteX43" fmla="*/ 421065 w 2497515"/>
                <a:gd name="connsiteY43" fmla="*/ 3095625 h 3781425"/>
                <a:gd name="connsiteX44" fmla="*/ 354390 w 2497515"/>
                <a:gd name="connsiteY44" fmla="*/ 2857500 h 3781425"/>
                <a:gd name="connsiteX45" fmla="*/ 297240 w 2497515"/>
                <a:gd name="connsiteY45" fmla="*/ 2590800 h 3781425"/>
                <a:gd name="connsiteX46" fmla="*/ 268665 w 2497515"/>
                <a:gd name="connsiteY46" fmla="*/ 2466975 h 3781425"/>
                <a:gd name="connsiteX47" fmla="*/ 230565 w 2497515"/>
                <a:gd name="connsiteY47" fmla="*/ 2247900 h 3781425"/>
                <a:gd name="connsiteX48" fmla="*/ 211515 w 2497515"/>
                <a:gd name="connsiteY48" fmla="*/ 2047875 h 3781425"/>
                <a:gd name="connsiteX49" fmla="*/ 201990 w 2497515"/>
                <a:gd name="connsiteY49" fmla="*/ 1971675 h 3781425"/>
                <a:gd name="connsiteX50" fmla="*/ 182940 w 2497515"/>
                <a:gd name="connsiteY50" fmla="*/ 1362075 h 3781425"/>
                <a:gd name="connsiteX51" fmla="*/ 163890 w 2497515"/>
                <a:gd name="connsiteY51" fmla="*/ 1266825 h 3781425"/>
                <a:gd name="connsiteX52" fmla="*/ 144840 w 2497515"/>
                <a:gd name="connsiteY52" fmla="*/ 1104900 h 3781425"/>
                <a:gd name="connsiteX53" fmla="*/ 116265 w 2497515"/>
                <a:gd name="connsiteY53" fmla="*/ 1019175 h 3781425"/>
                <a:gd name="connsiteX54" fmla="*/ 97215 w 2497515"/>
                <a:gd name="connsiteY54" fmla="*/ 933450 h 3781425"/>
                <a:gd name="connsiteX55" fmla="*/ 78165 w 2497515"/>
                <a:gd name="connsiteY55" fmla="*/ 857250 h 3781425"/>
                <a:gd name="connsiteX56" fmla="*/ 68640 w 2497515"/>
                <a:gd name="connsiteY56" fmla="*/ 809625 h 3781425"/>
                <a:gd name="connsiteX57" fmla="*/ 49590 w 2497515"/>
                <a:gd name="connsiteY57" fmla="*/ 752475 h 3781425"/>
                <a:gd name="connsiteX58" fmla="*/ 30540 w 2497515"/>
                <a:gd name="connsiteY58" fmla="*/ 666750 h 3781425"/>
                <a:gd name="connsiteX59" fmla="*/ 21015 w 2497515"/>
                <a:gd name="connsiteY59" fmla="*/ 619125 h 3781425"/>
                <a:gd name="connsiteX60" fmla="*/ 1965 w 2497515"/>
                <a:gd name="connsiteY60" fmla="*/ 552450 h 3781425"/>
                <a:gd name="connsiteX61" fmla="*/ 21015 w 2497515"/>
                <a:gd name="connsiteY61" fmla="*/ 495300 h 37814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</a:cxnLst>
              <a:rect l="l" t="t" r="r" b="b"/>
              <a:pathLst>
                <a:path w="2497515" h="3781425">
                  <a:moveTo>
                    <a:pt x="21015" y="495300"/>
                  </a:moveTo>
                  <a:cubicBezTo>
                    <a:pt x="44827" y="465138"/>
                    <a:pt x="-99649" y="575216"/>
                    <a:pt x="144840" y="371475"/>
                  </a:cubicBezTo>
                  <a:cubicBezTo>
                    <a:pt x="190861" y="333124"/>
                    <a:pt x="244946" y="305448"/>
                    <a:pt x="297240" y="276225"/>
                  </a:cubicBezTo>
                  <a:cubicBezTo>
                    <a:pt x="388889" y="225010"/>
                    <a:pt x="530205" y="159454"/>
                    <a:pt x="630615" y="123825"/>
                  </a:cubicBezTo>
                  <a:cubicBezTo>
                    <a:pt x="751335" y="80989"/>
                    <a:pt x="788212" y="83665"/>
                    <a:pt x="916365" y="57150"/>
                  </a:cubicBezTo>
                  <a:cubicBezTo>
                    <a:pt x="957846" y="48568"/>
                    <a:pt x="998457" y="35833"/>
                    <a:pt x="1040190" y="28575"/>
                  </a:cubicBezTo>
                  <a:cubicBezTo>
                    <a:pt x="1071626" y="23108"/>
                    <a:pt x="1103800" y="23177"/>
                    <a:pt x="1135440" y="19050"/>
                  </a:cubicBezTo>
                  <a:cubicBezTo>
                    <a:pt x="1176850" y="13649"/>
                    <a:pt x="1217990" y="6350"/>
                    <a:pt x="1259265" y="0"/>
                  </a:cubicBezTo>
                  <a:cubicBezTo>
                    <a:pt x="1430715" y="9525"/>
                    <a:pt x="1602535" y="13827"/>
                    <a:pt x="1773615" y="28575"/>
                  </a:cubicBezTo>
                  <a:cubicBezTo>
                    <a:pt x="1805776" y="31348"/>
                    <a:pt x="1816882" y="53062"/>
                    <a:pt x="1830765" y="76200"/>
                  </a:cubicBezTo>
                  <a:cubicBezTo>
                    <a:pt x="1853459" y="114023"/>
                    <a:pt x="1875215" y="152400"/>
                    <a:pt x="1897440" y="190500"/>
                  </a:cubicBezTo>
                  <a:cubicBezTo>
                    <a:pt x="1919665" y="282575"/>
                    <a:pt x="1941671" y="374703"/>
                    <a:pt x="1964115" y="466725"/>
                  </a:cubicBezTo>
                  <a:cubicBezTo>
                    <a:pt x="1973421" y="504879"/>
                    <a:pt x="1980271" y="543768"/>
                    <a:pt x="1992690" y="581025"/>
                  </a:cubicBezTo>
                  <a:lnTo>
                    <a:pt x="2030790" y="695325"/>
                  </a:lnTo>
                  <a:cubicBezTo>
                    <a:pt x="2073872" y="975357"/>
                    <a:pt x="2016229" y="666532"/>
                    <a:pt x="2097465" y="933450"/>
                  </a:cubicBezTo>
                  <a:cubicBezTo>
                    <a:pt x="2107801" y="967410"/>
                    <a:pt x="2106576" y="1004147"/>
                    <a:pt x="2116515" y="1038225"/>
                  </a:cubicBezTo>
                  <a:cubicBezTo>
                    <a:pt x="2128897" y="1080679"/>
                    <a:pt x="2150497" y="1119984"/>
                    <a:pt x="2164140" y="1162050"/>
                  </a:cubicBezTo>
                  <a:cubicBezTo>
                    <a:pt x="2188628" y="1237553"/>
                    <a:pt x="2208744" y="1314405"/>
                    <a:pt x="2230815" y="1390650"/>
                  </a:cubicBezTo>
                  <a:cubicBezTo>
                    <a:pt x="2243669" y="1435056"/>
                    <a:pt x="2259849" y="1478669"/>
                    <a:pt x="2268915" y="1524000"/>
                  </a:cubicBezTo>
                  <a:cubicBezTo>
                    <a:pt x="2275265" y="1555750"/>
                    <a:pt x="2280112" y="1587838"/>
                    <a:pt x="2287965" y="1619250"/>
                  </a:cubicBezTo>
                  <a:cubicBezTo>
                    <a:pt x="2296005" y="1651408"/>
                    <a:pt x="2309086" y="1682201"/>
                    <a:pt x="2316540" y="1714500"/>
                  </a:cubicBezTo>
                  <a:cubicBezTo>
                    <a:pt x="2328162" y="1764862"/>
                    <a:pt x="2336618" y="1815918"/>
                    <a:pt x="2345115" y="1866900"/>
                  </a:cubicBezTo>
                  <a:cubicBezTo>
                    <a:pt x="2362021" y="1968334"/>
                    <a:pt x="2365683" y="2072491"/>
                    <a:pt x="2392740" y="2171700"/>
                  </a:cubicBezTo>
                  <a:cubicBezTo>
                    <a:pt x="2402265" y="2206625"/>
                    <a:pt x="2412535" y="2241355"/>
                    <a:pt x="2421315" y="2276475"/>
                  </a:cubicBezTo>
                  <a:cubicBezTo>
                    <a:pt x="2439259" y="2348251"/>
                    <a:pt x="2455274" y="2422663"/>
                    <a:pt x="2468940" y="2495550"/>
                  </a:cubicBezTo>
                  <a:cubicBezTo>
                    <a:pt x="2479122" y="2549856"/>
                    <a:pt x="2479260" y="2562630"/>
                    <a:pt x="2487990" y="2619375"/>
                  </a:cubicBezTo>
                  <a:cubicBezTo>
                    <a:pt x="2490927" y="2638463"/>
                    <a:pt x="2494340" y="2657475"/>
                    <a:pt x="2497515" y="2676525"/>
                  </a:cubicBezTo>
                  <a:cubicBezTo>
                    <a:pt x="2491165" y="2733675"/>
                    <a:pt x="2498655" y="2794134"/>
                    <a:pt x="2478465" y="2847975"/>
                  </a:cubicBezTo>
                  <a:cubicBezTo>
                    <a:pt x="2430925" y="2974748"/>
                    <a:pt x="2472353" y="2878230"/>
                    <a:pt x="2421315" y="2971800"/>
                  </a:cubicBezTo>
                  <a:cubicBezTo>
                    <a:pt x="2395956" y="3018291"/>
                    <a:pt x="2385683" y="3050784"/>
                    <a:pt x="2354640" y="3095625"/>
                  </a:cubicBezTo>
                  <a:cubicBezTo>
                    <a:pt x="2328605" y="3133231"/>
                    <a:pt x="2271680" y="3190617"/>
                    <a:pt x="2240340" y="3219450"/>
                  </a:cubicBezTo>
                  <a:cubicBezTo>
                    <a:pt x="2184068" y="3271221"/>
                    <a:pt x="2132512" y="3329435"/>
                    <a:pt x="2068890" y="3371850"/>
                  </a:cubicBezTo>
                  <a:cubicBezTo>
                    <a:pt x="2030790" y="3397250"/>
                    <a:pt x="1991222" y="3420576"/>
                    <a:pt x="1954590" y="3448050"/>
                  </a:cubicBezTo>
                  <a:cubicBezTo>
                    <a:pt x="1927589" y="3468300"/>
                    <a:pt x="1905963" y="3495262"/>
                    <a:pt x="1878390" y="3514725"/>
                  </a:cubicBezTo>
                  <a:cubicBezTo>
                    <a:pt x="1824136" y="3553022"/>
                    <a:pt x="1766282" y="3572524"/>
                    <a:pt x="1706940" y="3600450"/>
                  </a:cubicBezTo>
                  <a:cubicBezTo>
                    <a:pt x="1681245" y="3612542"/>
                    <a:pt x="1656757" y="3627168"/>
                    <a:pt x="1630740" y="3638550"/>
                  </a:cubicBezTo>
                  <a:cubicBezTo>
                    <a:pt x="1527273" y="3683817"/>
                    <a:pt x="1583514" y="3653308"/>
                    <a:pt x="1478340" y="3686175"/>
                  </a:cubicBezTo>
                  <a:cubicBezTo>
                    <a:pt x="1452448" y="3694266"/>
                    <a:pt x="1428457" y="3708171"/>
                    <a:pt x="1402140" y="3714750"/>
                  </a:cubicBezTo>
                  <a:cubicBezTo>
                    <a:pt x="1364668" y="3724118"/>
                    <a:pt x="1325804" y="3726682"/>
                    <a:pt x="1287840" y="3733800"/>
                  </a:cubicBezTo>
                  <a:cubicBezTo>
                    <a:pt x="1034367" y="3781326"/>
                    <a:pt x="1177388" y="3763895"/>
                    <a:pt x="1002090" y="3781425"/>
                  </a:cubicBezTo>
                  <a:cubicBezTo>
                    <a:pt x="948115" y="3771900"/>
                    <a:pt x="887293" y="3780832"/>
                    <a:pt x="840165" y="3752850"/>
                  </a:cubicBezTo>
                  <a:cubicBezTo>
                    <a:pt x="838310" y="3751748"/>
                    <a:pt x="685609" y="3593621"/>
                    <a:pt x="649665" y="3543300"/>
                  </a:cubicBezTo>
                  <a:cubicBezTo>
                    <a:pt x="600527" y="3474506"/>
                    <a:pt x="535426" y="3413293"/>
                    <a:pt x="506790" y="3333750"/>
                  </a:cubicBezTo>
                  <a:cubicBezTo>
                    <a:pt x="478215" y="3254375"/>
                    <a:pt x="441526" y="3177468"/>
                    <a:pt x="421065" y="3095625"/>
                  </a:cubicBezTo>
                  <a:cubicBezTo>
                    <a:pt x="308645" y="2645943"/>
                    <a:pt x="484720" y="3341583"/>
                    <a:pt x="354390" y="2857500"/>
                  </a:cubicBezTo>
                  <a:cubicBezTo>
                    <a:pt x="329308" y="2764337"/>
                    <a:pt x="317596" y="2685796"/>
                    <a:pt x="297240" y="2590800"/>
                  </a:cubicBezTo>
                  <a:cubicBezTo>
                    <a:pt x="288364" y="2549381"/>
                    <a:pt x="278190" y="2508250"/>
                    <a:pt x="268665" y="2466975"/>
                  </a:cubicBezTo>
                  <a:cubicBezTo>
                    <a:pt x="250066" y="2262384"/>
                    <a:pt x="273826" y="2464203"/>
                    <a:pt x="230565" y="2247900"/>
                  </a:cubicBezTo>
                  <a:cubicBezTo>
                    <a:pt x="220673" y="2198438"/>
                    <a:pt x="215294" y="2087551"/>
                    <a:pt x="211515" y="2047875"/>
                  </a:cubicBezTo>
                  <a:cubicBezTo>
                    <a:pt x="209088" y="2022393"/>
                    <a:pt x="205165" y="1997075"/>
                    <a:pt x="201990" y="1971675"/>
                  </a:cubicBezTo>
                  <a:cubicBezTo>
                    <a:pt x="201501" y="1951608"/>
                    <a:pt x="192049" y="1462270"/>
                    <a:pt x="182940" y="1362075"/>
                  </a:cubicBezTo>
                  <a:cubicBezTo>
                    <a:pt x="180009" y="1329829"/>
                    <a:pt x="168693" y="1298846"/>
                    <a:pt x="163890" y="1266825"/>
                  </a:cubicBezTo>
                  <a:cubicBezTo>
                    <a:pt x="159877" y="1240074"/>
                    <a:pt x="153427" y="1139249"/>
                    <a:pt x="144840" y="1104900"/>
                  </a:cubicBezTo>
                  <a:cubicBezTo>
                    <a:pt x="137535" y="1075679"/>
                    <a:pt x="124327" y="1048197"/>
                    <a:pt x="116265" y="1019175"/>
                  </a:cubicBezTo>
                  <a:cubicBezTo>
                    <a:pt x="108431" y="990971"/>
                    <a:pt x="103919" y="961944"/>
                    <a:pt x="97215" y="933450"/>
                  </a:cubicBezTo>
                  <a:cubicBezTo>
                    <a:pt x="91218" y="907964"/>
                    <a:pt x="84052" y="882761"/>
                    <a:pt x="78165" y="857250"/>
                  </a:cubicBezTo>
                  <a:cubicBezTo>
                    <a:pt x="74525" y="841475"/>
                    <a:pt x="72900" y="825244"/>
                    <a:pt x="68640" y="809625"/>
                  </a:cubicBezTo>
                  <a:cubicBezTo>
                    <a:pt x="63356" y="790252"/>
                    <a:pt x="53528" y="772166"/>
                    <a:pt x="49590" y="752475"/>
                  </a:cubicBezTo>
                  <a:cubicBezTo>
                    <a:pt x="20862" y="608836"/>
                    <a:pt x="57443" y="787814"/>
                    <a:pt x="30540" y="666750"/>
                  </a:cubicBezTo>
                  <a:cubicBezTo>
                    <a:pt x="27028" y="650946"/>
                    <a:pt x="24942" y="634831"/>
                    <a:pt x="21015" y="619125"/>
                  </a:cubicBezTo>
                  <a:cubicBezTo>
                    <a:pt x="13790" y="590226"/>
                    <a:pt x="5528" y="584520"/>
                    <a:pt x="1965" y="552450"/>
                  </a:cubicBezTo>
                  <a:cubicBezTo>
                    <a:pt x="212" y="536672"/>
                    <a:pt x="-2797" y="525462"/>
                    <a:pt x="21015" y="495300"/>
                  </a:cubicBezTo>
                  <a:close/>
                </a:path>
              </a:pathLst>
            </a:custGeom>
            <a:noFill/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22" name="Textfeld 21">
            <a:extLst>
              <a:ext uri="{FF2B5EF4-FFF2-40B4-BE49-F238E27FC236}">
                <a16:creationId xmlns:a16="http://schemas.microsoft.com/office/drawing/2014/main" id="{619BD5D9-00D2-316B-5559-DEB2FF294184}"/>
              </a:ext>
            </a:extLst>
          </p:cNvPr>
          <p:cNvSpPr txBox="1"/>
          <p:nvPr/>
        </p:nvSpPr>
        <p:spPr>
          <a:xfrm>
            <a:off x="3504660" y="2396680"/>
            <a:ext cx="34142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X</a:t>
            </a:r>
          </a:p>
        </p:txBody>
      </p:sp>
      <p:sp>
        <p:nvSpPr>
          <p:cNvPr id="31" name="Textfeld 30">
            <a:extLst>
              <a:ext uri="{FF2B5EF4-FFF2-40B4-BE49-F238E27FC236}">
                <a16:creationId xmlns:a16="http://schemas.microsoft.com/office/drawing/2014/main" id="{70A35039-4CFE-FC5D-5CA7-60FD7924E32A}"/>
              </a:ext>
            </a:extLst>
          </p:cNvPr>
          <p:cNvSpPr txBox="1"/>
          <p:nvPr/>
        </p:nvSpPr>
        <p:spPr>
          <a:xfrm>
            <a:off x="2818226" y="2396680"/>
            <a:ext cx="34142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X</a:t>
            </a:r>
          </a:p>
        </p:txBody>
      </p:sp>
      <p:sp>
        <p:nvSpPr>
          <p:cNvPr id="32" name="Textfeld 31">
            <a:extLst>
              <a:ext uri="{FF2B5EF4-FFF2-40B4-BE49-F238E27FC236}">
                <a16:creationId xmlns:a16="http://schemas.microsoft.com/office/drawing/2014/main" id="{84082A2F-EE0A-45A0-5625-5D3EC83266DF}"/>
              </a:ext>
            </a:extLst>
          </p:cNvPr>
          <p:cNvSpPr txBox="1"/>
          <p:nvPr/>
        </p:nvSpPr>
        <p:spPr>
          <a:xfrm>
            <a:off x="2072126" y="2669730"/>
            <a:ext cx="34142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X</a:t>
            </a:r>
          </a:p>
        </p:txBody>
      </p:sp>
      <p:sp>
        <p:nvSpPr>
          <p:cNvPr id="33" name="Textfeld 32">
            <a:extLst>
              <a:ext uri="{FF2B5EF4-FFF2-40B4-BE49-F238E27FC236}">
                <a16:creationId xmlns:a16="http://schemas.microsoft.com/office/drawing/2014/main" id="{9B5A9F0F-695E-4858-40D4-587E0DC5E3B7}"/>
              </a:ext>
            </a:extLst>
          </p:cNvPr>
          <p:cNvSpPr txBox="1"/>
          <p:nvPr/>
        </p:nvSpPr>
        <p:spPr>
          <a:xfrm>
            <a:off x="2268788" y="4035293"/>
            <a:ext cx="34142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X</a:t>
            </a:r>
          </a:p>
        </p:txBody>
      </p:sp>
      <p:sp>
        <p:nvSpPr>
          <p:cNvPr id="34" name="Textfeld 33">
            <a:extLst>
              <a:ext uri="{FF2B5EF4-FFF2-40B4-BE49-F238E27FC236}">
                <a16:creationId xmlns:a16="http://schemas.microsoft.com/office/drawing/2014/main" id="{A44051FA-D3A6-E11B-BA6B-704871DFA489}"/>
              </a:ext>
            </a:extLst>
          </p:cNvPr>
          <p:cNvSpPr txBox="1"/>
          <p:nvPr/>
        </p:nvSpPr>
        <p:spPr>
          <a:xfrm>
            <a:off x="2988938" y="3911587"/>
            <a:ext cx="34142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X</a:t>
            </a:r>
          </a:p>
        </p:txBody>
      </p:sp>
      <p:sp>
        <p:nvSpPr>
          <p:cNvPr id="35" name="Textfeld 34">
            <a:extLst>
              <a:ext uri="{FF2B5EF4-FFF2-40B4-BE49-F238E27FC236}">
                <a16:creationId xmlns:a16="http://schemas.microsoft.com/office/drawing/2014/main" id="{B1DD76B2-8ED1-5953-7C37-D85DD8793224}"/>
              </a:ext>
            </a:extLst>
          </p:cNvPr>
          <p:cNvSpPr txBox="1"/>
          <p:nvPr/>
        </p:nvSpPr>
        <p:spPr>
          <a:xfrm>
            <a:off x="3709088" y="3726921"/>
            <a:ext cx="34142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X</a:t>
            </a:r>
          </a:p>
        </p:txBody>
      </p:sp>
      <p:sp>
        <p:nvSpPr>
          <p:cNvPr id="36" name="Textfeld 35">
            <a:extLst>
              <a:ext uri="{FF2B5EF4-FFF2-40B4-BE49-F238E27FC236}">
                <a16:creationId xmlns:a16="http://schemas.microsoft.com/office/drawing/2014/main" id="{E8EDC760-CE85-801B-8542-D2AE1A24288F}"/>
              </a:ext>
            </a:extLst>
          </p:cNvPr>
          <p:cNvSpPr txBox="1"/>
          <p:nvPr/>
        </p:nvSpPr>
        <p:spPr>
          <a:xfrm>
            <a:off x="4233975" y="4964603"/>
            <a:ext cx="34142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X</a:t>
            </a:r>
          </a:p>
        </p:txBody>
      </p:sp>
      <p:sp>
        <p:nvSpPr>
          <p:cNvPr id="37" name="Textfeld 36">
            <a:extLst>
              <a:ext uri="{FF2B5EF4-FFF2-40B4-BE49-F238E27FC236}">
                <a16:creationId xmlns:a16="http://schemas.microsoft.com/office/drawing/2014/main" id="{CBA55493-987B-7147-4FB8-CD8997DDCDAF}"/>
              </a:ext>
            </a:extLst>
          </p:cNvPr>
          <p:cNvSpPr txBox="1"/>
          <p:nvPr/>
        </p:nvSpPr>
        <p:spPr>
          <a:xfrm>
            <a:off x="3611675" y="5400569"/>
            <a:ext cx="34142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X</a:t>
            </a:r>
          </a:p>
        </p:txBody>
      </p:sp>
      <p:sp>
        <p:nvSpPr>
          <p:cNvPr id="38" name="Textfeld 37">
            <a:extLst>
              <a:ext uri="{FF2B5EF4-FFF2-40B4-BE49-F238E27FC236}">
                <a16:creationId xmlns:a16="http://schemas.microsoft.com/office/drawing/2014/main" id="{8570C3C5-7B88-B1DF-DC2F-073B98EF24E0}"/>
              </a:ext>
            </a:extLst>
          </p:cNvPr>
          <p:cNvSpPr txBox="1"/>
          <p:nvPr/>
        </p:nvSpPr>
        <p:spPr>
          <a:xfrm>
            <a:off x="2834325" y="5704431"/>
            <a:ext cx="34142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X</a:t>
            </a:r>
          </a:p>
        </p:txBody>
      </p:sp>
    </p:spTree>
    <p:extLst>
      <p:ext uri="{BB962C8B-B14F-4D97-AF65-F5344CB8AC3E}">
        <p14:creationId xmlns:p14="http://schemas.microsoft.com/office/powerpoint/2010/main" val="79968993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15DB0827-7C39-D22E-6433-C7DBC919B4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51" imgH="351" progId="TCLayout.ActiveDocument.1">
                  <p:embed/>
                </p:oleObj>
              </mc:Choice>
              <mc:Fallback>
                <p:oleObj name="think-cell Folie" r:id="rId3" imgW="351" imgH="351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15DB0827-7C39-D22E-6433-C7DBC919B4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feld 4">
            <a:extLst>
              <a:ext uri="{FF2B5EF4-FFF2-40B4-BE49-F238E27FC236}">
                <a16:creationId xmlns:a16="http://schemas.microsoft.com/office/drawing/2014/main" id="{D26779B1-255B-A676-3AA4-656C3B6EEED5}"/>
              </a:ext>
            </a:extLst>
          </p:cNvPr>
          <p:cNvSpPr txBox="1"/>
          <p:nvPr/>
        </p:nvSpPr>
        <p:spPr>
          <a:xfrm>
            <a:off x="742950" y="762000"/>
            <a:ext cx="13011150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514350" indent="-514350">
              <a:buFont typeface="+mj-lt"/>
              <a:buAutoNum type="arabicParenR" startAt="5"/>
            </a:pPr>
            <a:r>
              <a:rPr lang="en-US" sz="2800" dirty="0"/>
              <a:t>Open “PPO_ID_lookup_data.xlsx” and look for entry with corresponding coordinates and find the ID:</a:t>
            </a:r>
          </a:p>
          <a:p>
            <a:pPr marL="514350" indent="-514350">
              <a:buFont typeface="+mj-lt"/>
              <a:buAutoNum type="arabicParenR" startAt="5"/>
            </a:pPr>
            <a:endParaRPr lang="en-US" sz="2800" dirty="0"/>
          </a:p>
        </p:txBody>
      </p:sp>
      <p:sp>
        <p:nvSpPr>
          <p:cNvPr id="26" name="Textfeld 25">
            <a:extLst>
              <a:ext uri="{FF2B5EF4-FFF2-40B4-BE49-F238E27FC236}">
                <a16:creationId xmlns:a16="http://schemas.microsoft.com/office/drawing/2014/main" id="{25FA19B1-5DDF-CFA3-49C3-2FDE9377164B}"/>
              </a:ext>
            </a:extLst>
          </p:cNvPr>
          <p:cNvSpPr txBox="1"/>
          <p:nvPr/>
        </p:nvSpPr>
        <p:spPr>
          <a:xfrm>
            <a:off x="1010337" y="7336097"/>
            <a:ext cx="13200964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514350" indent="-514350">
              <a:buFont typeface="+mj-lt"/>
              <a:buAutoNum type="arabicParenR" startAt="6"/>
            </a:pPr>
            <a:r>
              <a:rPr lang="en-US" sz="2800" dirty="0"/>
              <a:t>Open “PPO_raw_data.xlsx” and find the entry with the same ID and </a:t>
            </a:r>
            <a:r>
              <a:rPr lang="en-US" sz="2800" u="sng" dirty="0"/>
              <a:t>document</a:t>
            </a:r>
            <a:r>
              <a:rPr lang="en-US" sz="2800" dirty="0"/>
              <a:t> the values for health, order, inventory, and </a:t>
            </a:r>
            <a:r>
              <a:rPr lang="en-US" sz="2800" dirty="0" err="1"/>
              <a:t>sp_inventory</a:t>
            </a:r>
            <a:r>
              <a:rPr lang="en-US" sz="2800" dirty="0"/>
              <a:t> (spare parts):</a:t>
            </a:r>
          </a:p>
          <a:p>
            <a:endParaRPr lang="en-US" sz="2800" dirty="0"/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A6700EE3-5F0F-BA72-7A47-2E2389CDCF39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10336" y="2517230"/>
            <a:ext cx="6577294" cy="2584851"/>
          </a:xfrm>
          <a:prstGeom prst="rect">
            <a:avLst/>
          </a:prstGeom>
        </p:spPr>
      </p:pic>
      <p:sp>
        <p:nvSpPr>
          <p:cNvPr id="10" name="Textfeld 9">
            <a:extLst>
              <a:ext uri="{FF2B5EF4-FFF2-40B4-BE49-F238E27FC236}">
                <a16:creationId xmlns:a16="http://schemas.microsoft.com/office/drawing/2014/main" id="{68DE5301-BE80-F1ED-5822-804EA0F9D0BD}"/>
              </a:ext>
            </a:extLst>
          </p:cNvPr>
          <p:cNvSpPr txBox="1"/>
          <p:nvPr/>
        </p:nvSpPr>
        <p:spPr>
          <a:xfrm>
            <a:off x="8553450" y="3455713"/>
            <a:ext cx="2414444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4000" dirty="0"/>
              <a:t>ID = 10001</a:t>
            </a:r>
          </a:p>
        </p:txBody>
      </p:sp>
      <mc:AlternateContent xmlns:mc="http://schemas.openxmlformats.org/markup-compatibility/2006">
        <mc:Choice xmlns:p14="http://schemas.microsoft.com/office/powerpoint/2010/main" Requires="p14">
          <p:contentPart p14:bwMode="auto" r:id="rId6">
            <p14:nvContentPartPr>
              <p14:cNvPr id="6" name="Freihand 5">
                <a:extLst>
                  <a:ext uri="{FF2B5EF4-FFF2-40B4-BE49-F238E27FC236}">
                    <a16:creationId xmlns:a16="http://schemas.microsoft.com/office/drawing/2014/main" id="{ED72B070-2BFC-6E7C-0522-C589F9076DAA}"/>
                  </a:ext>
                </a:extLst>
              </p14:cNvPr>
              <p14:cNvContentPartPr/>
              <p14:nvPr/>
            </p14:nvContentPartPr>
            <p14:xfrm>
              <a:off x="1313580" y="3236760"/>
              <a:ext cx="6201360" cy="154440"/>
            </p14:xfrm>
          </p:contentPart>
        </mc:Choice>
        <mc:Fallback>
          <p:pic>
            <p:nvPicPr>
              <p:cNvPr id="6" name="Freihand 5">
                <a:extLst>
                  <a:ext uri="{FF2B5EF4-FFF2-40B4-BE49-F238E27FC236}">
                    <a16:creationId xmlns:a16="http://schemas.microsoft.com/office/drawing/2014/main" id="{ED72B070-2BFC-6E7C-0522-C589F9076DAA}"/>
                  </a:ext>
                </a:extLst>
              </p:cNvPr>
              <p:cNvPicPr/>
              <p:nvPr/>
            </p:nvPicPr>
            <p:blipFill>
              <a:blip r:embed="rId7"/>
              <a:stretch>
                <a:fillRect/>
              </a:stretch>
            </p:blipFill>
            <p:spPr>
              <a:xfrm>
                <a:off x="1223940" y="3056760"/>
                <a:ext cx="6381000" cy="514080"/>
              </a:xfrm>
              <a:prstGeom prst="rect">
                <a:avLst/>
              </a:prstGeom>
            </p:spPr>
          </p:pic>
        </mc:Fallback>
      </mc:AlternateContent>
      <p:pic>
        <p:nvPicPr>
          <p:cNvPr id="15" name="Grafik 14">
            <a:extLst>
              <a:ext uri="{FF2B5EF4-FFF2-40B4-BE49-F238E27FC236}">
                <a16:creationId xmlns:a16="http://schemas.microsoft.com/office/drawing/2014/main" id="{5C3C2778-367B-83E1-810E-BF6C6AC29984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313580" y="9298132"/>
            <a:ext cx="7863240" cy="2898977"/>
          </a:xfrm>
          <a:prstGeom prst="rect">
            <a:avLst/>
          </a:prstGeom>
        </p:spPr>
      </p:pic>
      <mc:AlternateContent xmlns:mc="http://schemas.openxmlformats.org/markup-compatibility/2006">
        <mc:Choice xmlns:p14="http://schemas.microsoft.com/office/powerpoint/2010/main" Requires="p14">
          <p:contentPart p14:bwMode="auto" r:id="rId9">
            <p14:nvContentPartPr>
              <p14:cNvPr id="16" name="Freihand 15">
                <a:extLst>
                  <a:ext uri="{FF2B5EF4-FFF2-40B4-BE49-F238E27FC236}">
                    <a16:creationId xmlns:a16="http://schemas.microsoft.com/office/drawing/2014/main" id="{4625EFAD-BEB7-A61F-3572-B235830A0AAD}"/>
                  </a:ext>
                </a:extLst>
              </p14:cNvPr>
              <p14:cNvContentPartPr/>
              <p14:nvPr/>
            </p14:nvContentPartPr>
            <p14:xfrm>
              <a:off x="2094780" y="11904840"/>
              <a:ext cx="7009200" cy="78480"/>
            </p14:xfrm>
          </p:contentPart>
        </mc:Choice>
        <mc:Fallback>
          <p:pic>
            <p:nvPicPr>
              <p:cNvPr id="16" name="Freihand 15">
                <a:extLst>
                  <a:ext uri="{FF2B5EF4-FFF2-40B4-BE49-F238E27FC236}">
                    <a16:creationId xmlns:a16="http://schemas.microsoft.com/office/drawing/2014/main" id="{4625EFAD-BEB7-A61F-3572-B235830A0AAD}"/>
                  </a:ext>
                </a:extLst>
              </p:cNvPr>
              <p:cNvPicPr/>
              <p:nvPr/>
            </p:nvPicPr>
            <p:blipFill>
              <a:blip r:embed="rId10"/>
              <a:stretch>
                <a:fillRect/>
              </a:stretch>
            </p:blipFill>
            <p:spPr>
              <a:xfrm>
                <a:off x="2005140" y="11725200"/>
                <a:ext cx="7188840" cy="438120"/>
              </a:xfrm>
              <a:prstGeom prst="rect">
                <a:avLst/>
              </a:prstGeom>
            </p:spPr>
          </p:pic>
        </mc:Fallback>
      </mc:AlternateContent>
    </p:spTree>
    <p:extLst>
      <p:ext uri="{BB962C8B-B14F-4D97-AF65-F5344CB8AC3E}">
        <p14:creationId xmlns:p14="http://schemas.microsoft.com/office/powerpoint/2010/main" val="23516758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7C4BE4E7-78F8-BFF2-5BC7-C98B434E42D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938788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51" imgH="351" progId="TCLayout.ActiveDocument.1">
                  <p:embed/>
                </p:oleObj>
              </mc:Choice>
              <mc:Fallback>
                <p:oleObj name="think-cell Folie" r:id="rId3" imgW="351" imgH="35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feld 4">
            <a:extLst>
              <a:ext uri="{FF2B5EF4-FFF2-40B4-BE49-F238E27FC236}">
                <a16:creationId xmlns:a16="http://schemas.microsoft.com/office/drawing/2014/main" id="{FE650705-D072-839B-AF07-506160159762}"/>
              </a:ext>
            </a:extLst>
          </p:cNvPr>
          <p:cNvSpPr txBox="1"/>
          <p:nvPr/>
        </p:nvSpPr>
        <p:spPr>
          <a:xfrm>
            <a:off x="600418" y="535247"/>
            <a:ext cx="13200964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514350" indent="-514350">
              <a:buFont typeface="+mj-lt"/>
              <a:buAutoNum type="arabicParenR" startAt="7"/>
            </a:pPr>
            <a:r>
              <a:rPr lang="en-US" sz="2800" dirty="0"/>
              <a:t>Repeat steps 3) to 6) until you can characterize ONE entire cluster using the representative values from step 6, e.g., like this:</a:t>
            </a:r>
          </a:p>
          <a:p>
            <a:endParaRPr lang="en-US" sz="2800" dirty="0"/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9114930B-7825-59A0-CC53-59E0C060AFB3}"/>
              </a:ext>
            </a:extLst>
          </p:cNvPr>
          <p:cNvSpPr txBox="1"/>
          <p:nvPr/>
        </p:nvSpPr>
        <p:spPr>
          <a:xfrm>
            <a:off x="6142822" y="11427514"/>
            <a:ext cx="259917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dirty="0" err="1"/>
              <a:t>sp_inventory</a:t>
            </a:r>
            <a:r>
              <a:rPr lang="en-US" dirty="0"/>
              <a:t> = 1, order=0</a:t>
            </a:r>
          </a:p>
        </p:txBody>
      </p:sp>
      <p:sp>
        <p:nvSpPr>
          <p:cNvPr id="12" name="Gleichschenkliges Dreieck 11">
            <a:extLst>
              <a:ext uri="{FF2B5EF4-FFF2-40B4-BE49-F238E27FC236}">
                <a16:creationId xmlns:a16="http://schemas.microsoft.com/office/drawing/2014/main" id="{92F64105-25E8-E255-7AA3-E10A571AC6AE}"/>
              </a:ext>
            </a:extLst>
          </p:cNvPr>
          <p:cNvSpPr/>
          <p:nvPr/>
        </p:nvSpPr>
        <p:spPr>
          <a:xfrm rot="16200000" flipV="1">
            <a:off x="6731078" y="4852254"/>
            <a:ext cx="413864" cy="2400300"/>
          </a:xfrm>
          <a:prstGeom prst="triangle">
            <a:avLst/>
          </a:prstGeom>
          <a:solidFill>
            <a:srgbClr val="FFABA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Textfeld 12">
            <a:extLst>
              <a:ext uri="{FF2B5EF4-FFF2-40B4-BE49-F238E27FC236}">
                <a16:creationId xmlns:a16="http://schemas.microsoft.com/office/drawing/2014/main" id="{752E5FE0-6239-41FD-3436-BA0D972DD146}"/>
              </a:ext>
            </a:extLst>
          </p:cNvPr>
          <p:cNvSpPr txBox="1"/>
          <p:nvPr/>
        </p:nvSpPr>
        <p:spPr>
          <a:xfrm>
            <a:off x="5737860" y="5845473"/>
            <a:ext cx="188214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/>
            <a:r>
              <a:rPr lang="en-US" dirty="0">
                <a:solidFill>
                  <a:schemeClr val="tx1"/>
                </a:solidFill>
              </a:rPr>
              <a:t>Health = [0, 1]</a:t>
            </a:r>
          </a:p>
        </p:txBody>
      </p:sp>
      <p:sp>
        <p:nvSpPr>
          <p:cNvPr id="17" name="Gleichschenkliges Dreieck 16">
            <a:extLst>
              <a:ext uri="{FF2B5EF4-FFF2-40B4-BE49-F238E27FC236}">
                <a16:creationId xmlns:a16="http://schemas.microsoft.com/office/drawing/2014/main" id="{2ACD7A87-7358-F970-B747-8F1628F97B37}"/>
              </a:ext>
            </a:extLst>
          </p:cNvPr>
          <p:cNvSpPr/>
          <p:nvPr/>
        </p:nvSpPr>
        <p:spPr>
          <a:xfrm>
            <a:off x="4820331" y="6674268"/>
            <a:ext cx="539843" cy="4165450"/>
          </a:xfrm>
          <a:prstGeom prst="triangle">
            <a:avLst/>
          </a:prstGeom>
          <a:solidFill>
            <a:srgbClr val="FFABA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Textfeld 17">
            <a:extLst>
              <a:ext uri="{FF2B5EF4-FFF2-40B4-BE49-F238E27FC236}">
                <a16:creationId xmlns:a16="http://schemas.microsoft.com/office/drawing/2014/main" id="{FD5617FA-144B-D354-8D6A-E8DC4AC15963}"/>
              </a:ext>
            </a:extLst>
          </p:cNvPr>
          <p:cNvSpPr txBox="1"/>
          <p:nvPr/>
        </p:nvSpPr>
        <p:spPr>
          <a:xfrm rot="16200000">
            <a:off x="4199464" y="9764263"/>
            <a:ext cx="178157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dirty="0"/>
              <a:t>inventory = [0, 9]</a:t>
            </a:r>
          </a:p>
        </p:txBody>
      </p:sp>
      <p:sp>
        <p:nvSpPr>
          <p:cNvPr id="20" name="Textfeld 19">
            <a:extLst>
              <a:ext uri="{FF2B5EF4-FFF2-40B4-BE49-F238E27FC236}">
                <a16:creationId xmlns:a16="http://schemas.microsoft.com/office/drawing/2014/main" id="{87207352-7DD8-B067-874E-FD9A2C3B1FDA}"/>
              </a:ext>
            </a:extLst>
          </p:cNvPr>
          <p:cNvSpPr txBox="1"/>
          <p:nvPr/>
        </p:nvSpPr>
        <p:spPr>
          <a:xfrm>
            <a:off x="1019518" y="12685868"/>
            <a:ext cx="13200964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514350" indent="-514350">
              <a:buFont typeface="+mj-lt"/>
              <a:buAutoNum type="arabicParenR" startAt="8"/>
            </a:pPr>
            <a:r>
              <a:rPr lang="en-US" sz="2800" dirty="0"/>
              <a:t>Repeat steps 2) to 7) until you can characterize ALL clusters</a:t>
            </a:r>
          </a:p>
          <a:p>
            <a:endParaRPr lang="en-US" sz="2800" dirty="0"/>
          </a:p>
        </p:txBody>
      </p:sp>
      <p:grpSp>
        <p:nvGrpSpPr>
          <p:cNvPr id="16" name="Gruppieren 15">
            <a:extLst>
              <a:ext uri="{FF2B5EF4-FFF2-40B4-BE49-F238E27FC236}">
                <a16:creationId xmlns:a16="http://schemas.microsoft.com/office/drawing/2014/main" id="{4FD873AA-39E0-8A44-74CA-7FE1D3CFC1DC}"/>
              </a:ext>
            </a:extLst>
          </p:cNvPr>
          <p:cNvGrpSpPr/>
          <p:nvPr/>
        </p:nvGrpSpPr>
        <p:grpSpPr>
          <a:xfrm>
            <a:off x="5454271" y="6363584"/>
            <a:ext cx="3463483" cy="4684806"/>
            <a:chOff x="-1" y="5000017"/>
            <a:chExt cx="2942881" cy="3980625"/>
          </a:xfrm>
        </p:grpSpPr>
        <p:pic>
          <p:nvPicPr>
            <p:cNvPr id="21" name="Grafik 20">
              <a:extLst>
                <a:ext uri="{FF2B5EF4-FFF2-40B4-BE49-F238E27FC236}">
                  <a16:creationId xmlns:a16="http://schemas.microsoft.com/office/drawing/2014/main" id="{7F031BFB-4B25-B7E3-4B06-28624311BC3F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8148" t="25726" r="71691" b="43311"/>
            <a:stretch/>
          </p:blipFill>
          <p:spPr>
            <a:xfrm>
              <a:off x="-1" y="5000017"/>
              <a:ext cx="2942881" cy="3980625"/>
            </a:xfrm>
            <a:prstGeom prst="rect">
              <a:avLst/>
            </a:prstGeom>
          </p:spPr>
        </p:pic>
        <p:sp>
          <p:nvSpPr>
            <p:cNvPr id="22" name="Freihandform: Form 21">
              <a:extLst>
                <a:ext uri="{FF2B5EF4-FFF2-40B4-BE49-F238E27FC236}">
                  <a16:creationId xmlns:a16="http://schemas.microsoft.com/office/drawing/2014/main" id="{B9FEEDD1-6569-99F3-71C3-6727F987F7AA}"/>
                </a:ext>
              </a:extLst>
            </p:cNvPr>
            <p:cNvSpPr/>
            <p:nvPr/>
          </p:nvSpPr>
          <p:spPr>
            <a:xfrm>
              <a:off x="302835" y="5191125"/>
              <a:ext cx="2497515" cy="3781425"/>
            </a:xfrm>
            <a:custGeom>
              <a:avLst/>
              <a:gdLst>
                <a:gd name="connsiteX0" fmla="*/ 21015 w 2497515"/>
                <a:gd name="connsiteY0" fmla="*/ 495300 h 3781425"/>
                <a:gd name="connsiteX1" fmla="*/ 144840 w 2497515"/>
                <a:gd name="connsiteY1" fmla="*/ 371475 h 3781425"/>
                <a:gd name="connsiteX2" fmla="*/ 297240 w 2497515"/>
                <a:gd name="connsiteY2" fmla="*/ 276225 h 3781425"/>
                <a:gd name="connsiteX3" fmla="*/ 630615 w 2497515"/>
                <a:gd name="connsiteY3" fmla="*/ 123825 h 3781425"/>
                <a:gd name="connsiteX4" fmla="*/ 916365 w 2497515"/>
                <a:gd name="connsiteY4" fmla="*/ 57150 h 3781425"/>
                <a:gd name="connsiteX5" fmla="*/ 1040190 w 2497515"/>
                <a:gd name="connsiteY5" fmla="*/ 28575 h 3781425"/>
                <a:gd name="connsiteX6" fmla="*/ 1135440 w 2497515"/>
                <a:gd name="connsiteY6" fmla="*/ 19050 h 3781425"/>
                <a:gd name="connsiteX7" fmla="*/ 1259265 w 2497515"/>
                <a:gd name="connsiteY7" fmla="*/ 0 h 3781425"/>
                <a:gd name="connsiteX8" fmla="*/ 1773615 w 2497515"/>
                <a:gd name="connsiteY8" fmla="*/ 28575 h 3781425"/>
                <a:gd name="connsiteX9" fmla="*/ 1830765 w 2497515"/>
                <a:gd name="connsiteY9" fmla="*/ 76200 h 3781425"/>
                <a:gd name="connsiteX10" fmla="*/ 1897440 w 2497515"/>
                <a:gd name="connsiteY10" fmla="*/ 190500 h 3781425"/>
                <a:gd name="connsiteX11" fmla="*/ 1964115 w 2497515"/>
                <a:gd name="connsiteY11" fmla="*/ 466725 h 3781425"/>
                <a:gd name="connsiteX12" fmla="*/ 1992690 w 2497515"/>
                <a:gd name="connsiteY12" fmla="*/ 581025 h 3781425"/>
                <a:gd name="connsiteX13" fmla="*/ 2030790 w 2497515"/>
                <a:gd name="connsiteY13" fmla="*/ 695325 h 3781425"/>
                <a:gd name="connsiteX14" fmla="*/ 2097465 w 2497515"/>
                <a:gd name="connsiteY14" fmla="*/ 933450 h 3781425"/>
                <a:gd name="connsiteX15" fmla="*/ 2116515 w 2497515"/>
                <a:gd name="connsiteY15" fmla="*/ 1038225 h 3781425"/>
                <a:gd name="connsiteX16" fmla="*/ 2164140 w 2497515"/>
                <a:gd name="connsiteY16" fmla="*/ 1162050 h 3781425"/>
                <a:gd name="connsiteX17" fmla="*/ 2230815 w 2497515"/>
                <a:gd name="connsiteY17" fmla="*/ 1390650 h 3781425"/>
                <a:gd name="connsiteX18" fmla="*/ 2268915 w 2497515"/>
                <a:gd name="connsiteY18" fmla="*/ 1524000 h 3781425"/>
                <a:gd name="connsiteX19" fmla="*/ 2287965 w 2497515"/>
                <a:gd name="connsiteY19" fmla="*/ 1619250 h 3781425"/>
                <a:gd name="connsiteX20" fmla="*/ 2316540 w 2497515"/>
                <a:gd name="connsiteY20" fmla="*/ 1714500 h 3781425"/>
                <a:gd name="connsiteX21" fmla="*/ 2345115 w 2497515"/>
                <a:gd name="connsiteY21" fmla="*/ 1866900 h 3781425"/>
                <a:gd name="connsiteX22" fmla="*/ 2392740 w 2497515"/>
                <a:gd name="connsiteY22" fmla="*/ 2171700 h 3781425"/>
                <a:gd name="connsiteX23" fmla="*/ 2421315 w 2497515"/>
                <a:gd name="connsiteY23" fmla="*/ 2276475 h 3781425"/>
                <a:gd name="connsiteX24" fmla="*/ 2468940 w 2497515"/>
                <a:gd name="connsiteY24" fmla="*/ 2495550 h 3781425"/>
                <a:gd name="connsiteX25" fmla="*/ 2487990 w 2497515"/>
                <a:gd name="connsiteY25" fmla="*/ 2619375 h 3781425"/>
                <a:gd name="connsiteX26" fmla="*/ 2497515 w 2497515"/>
                <a:gd name="connsiteY26" fmla="*/ 2676525 h 3781425"/>
                <a:gd name="connsiteX27" fmla="*/ 2478465 w 2497515"/>
                <a:gd name="connsiteY27" fmla="*/ 2847975 h 3781425"/>
                <a:gd name="connsiteX28" fmla="*/ 2421315 w 2497515"/>
                <a:gd name="connsiteY28" fmla="*/ 2971800 h 3781425"/>
                <a:gd name="connsiteX29" fmla="*/ 2354640 w 2497515"/>
                <a:gd name="connsiteY29" fmla="*/ 3095625 h 3781425"/>
                <a:gd name="connsiteX30" fmla="*/ 2240340 w 2497515"/>
                <a:gd name="connsiteY30" fmla="*/ 3219450 h 3781425"/>
                <a:gd name="connsiteX31" fmla="*/ 2068890 w 2497515"/>
                <a:gd name="connsiteY31" fmla="*/ 3371850 h 3781425"/>
                <a:gd name="connsiteX32" fmla="*/ 1954590 w 2497515"/>
                <a:gd name="connsiteY32" fmla="*/ 3448050 h 3781425"/>
                <a:gd name="connsiteX33" fmla="*/ 1878390 w 2497515"/>
                <a:gd name="connsiteY33" fmla="*/ 3514725 h 3781425"/>
                <a:gd name="connsiteX34" fmla="*/ 1706940 w 2497515"/>
                <a:gd name="connsiteY34" fmla="*/ 3600450 h 3781425"/>
                <a:gd name="connsiteX35" fmla="*/ 1630740 w 2497515"/>
                <a:gd name="connsiteY35" fmla="*/ 3638550 h 3781425"/>
                <a:gd name="connsiteX36" fmla="*/ 1478340 w 2497515"/>
                <a:gd name="connsiteY36" fmla="*/ 3686175 h 3781425"/>
                <a:gd name="connsiteX37" fmla="*/ 1402140 w 2497515"/>
                <a:gd name="connsiteY37" fmla="*/ 3714750 h 3781425"/>
                <a:gd name="connsiteX38" fmla="*/ 1287840 w 2497515"/>
                <a:gd name="connsiteY38" fmla="*/ 3733800 h 3781425"/>
                <a:gd name="connsiteX39" fmla="*/ 1002090 w 2497515"/>
                <a:gd name="connsiteY39" fmla="*/ 3781425 h 3781425"/>
                <a:gd name="connsiteX40" fmla="*/ 840165 w 2497515"/>
                <a:gd name="connsiteY40" fmla="*/ 3752850 h 3781425"/>
                <a:gd name="connsiteX41" fmla="*/ 649665 w 2497515"/>
                <a:gd name="connsiteY41" fmla="*/ 3543300 h 3781425"/>
                <a:gd name="connsiteX42" fmla="*/ 506790 w 2497515"/>
                <a:gd name="connsiteY42" fmla="*/ 3333750 h 3781425"/>
                <a:gd name="connsiteX43" fmla="*/ 421065 w 2497515"/>
                <a:gd name="connsiteY43" fmla="*/ 3095625 h 3781425"/>
                <a:gd name="connsiteX44" fmla="*/ 354390 w 2497515"/>
                <a:gd name="connsiteY44" fmla="*/ 2857500 h 3781425"/>
                <a:gd name="connsiteX45" fmla="*/ 297240 w 2497515"/>
                <a:gd name="connsiteY45" fmla="*/ 2590800 h 3781425"/>
                <a:gd name="connsiteX46" fmla="*/ 268665 w 2497515"/>
                <a:gd name="connsiteY46" fmla="*/ 2466975 h 3781425"/>
                <a:gd name="connsiteX47" fmla="*/ 230565 w 2497515"/>
                <a:gd name="connsiteY47" fmla="*/ 2247900 h 3781425"/>
                <a:gd name="connsiteX48" fmla="*/ 211515 w 2497515"/>
                <a:gd name="connsiteY48" fmla="*/ 2047875 h 3781425"/>
                <a:gd name="connsiteX49" fmla="*/ 201990 w 2497515"/>
                <a:gd name="connsiteY49" fmla="*/ 1971675 h 3781425"/>
                <a:gd name="connsiteX50" fmla="*/ 182940 w 2497515"/>
                <a:gd name="connsiteY50" fmla="*/ 1362075 h 3781425"/>
                <a:gd name="connsiteX51" fmla="*/ 163890 w 2497515"/>
                <a:gd name="connsiteY51" fmla="*/ 1266825 h 3781425"/>
                <a:gd name="connsiteX52" fmla="*/ 144840 w 2497515"/>
                <a:gd name="connsiteY52" fmla="*/ 1104900 h 3781425"/>
                <a:gd name="connsiteX53" fmla="*/ 116265 w 2497515"/>
                <a:gd name="connsiteY53" fmla="*/ 1019175 h 3781425"/>
                <a:gd name="connsiteX54" fmla="*/ 97215 w 2497515"/>
                <a:gd name="connsiteY54" fmla="*/ 933450 h 3781425"/>
                <a:gd name="connsiteX55" fmla="*/ 78165 w 2497515"/>
                <a:gd name="connsiteY55" fmla="*/ 857250 h 3781425"/>
                <a:gd name="connsiteX56" fmla="*/ 68640 w 2497515"/>
                <a:gd name="connsiteY56" fmla="*/ 809625 h 3781425"/>
                <a:gd name="connsiteX57" fmla="*/ 49590 w 2497515"/>
                <a:gd name="connsiteY57" fmla="*/ 752475 h 3781425"/>
                <a:gd name="connsiteX58" fmla="*/ 30540 w 2497515"/>
                <a:gd name="connsiteY58" fmla="*/ 666750 h 3781425"/>
                <a:gd name="connsiteX59" fmla="*/ 21015 w 2497515"/>
                <a:gd name="connsiteY59" fmla="*/ 619125 h 3781425"/>
                <a:gd name="connsiteX60" fmla="*/ 1965 w 2497515"/>
                <a:gd name="connsiteY60" fmla="*/ 552450 h 3781425"/>
                <a:gd name="connsiteX61" fmla="*/ 21015 w 2497515"/>
                <a:gd name="connsiteY61" fmla="*/ 495300 h 37814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</a:cxnLst>
              <a:rect l="l" t="t" r="r" b="b"/>
              <a:pathLst>
                <a:path w="2497515" h="3781425">
                  <a:moveTo>
                    <a:pt x="21015" y="495300"/>
                  </a:moveTo>
                  <a:cubicBezTo>
                    <a:pt x="44827" y="465138"/>
                    <a:pt x="-99649" y="575216"/>
                    <a:pt x="144840" y="371475"/>
                  </a:cubicBezTo>
                  <a:cubicBezTo>
                    <a:pt x="190861" y="333124"/>
                    <a:pt x="244946" y="305448"/>
                    <a:pt x="297240" y="276225"/>
                  </a:cubicBezTo>
                  <a:cubicBezTo>
                    <a:pt x="388889" y="225010"/>
                    <a:pt x="530205" y="159454"/>
                    <a:pt x="630615" y="123825"/>
                  </a:cubicBezTo>
                  <a:cubicBezTo>
                    <a:pt x="751335" y="80989"/>
                    <a:pt x="788212" y="83665"/>
                    <a:pt x="916365" y="57150"/>
                  </a:cubicBezTo>
                  <a:cubicBezTo>
                    <a:pt x="957846" y="48568"/>
                    <a:pt x="998457" y="35833"/>
                    <a:pt x="1040190" y="28575"/>
                  </a:cubicBezTo>
                  <a:cubicBezTo>
                    <a:pt x="1071626" y="23108"/>
                    <a:pt x="1103800" y="23177"/>
                    <a:pt x="1135440" y="19050"/>
                  </a:cubicBezTo>
                  <a:cubicBezTo>
                    <a:pt x="1176850" y="13649"/>
                    <a:pt x="1217990" y="6350"/>
                    <a:pt x="1259265" y="0"/>
                  </a:cubicBezTo>
                  <a:cubicBezTo>
                    <a:pt x="1430715" y="9525"/>
                    <a:pt x="1602535" y="13827"/>
                    <a:pt x="1773615" y="28575"/>
                  </a:cubicBezTo>
                  <a:cubicBezTo>
                    <a:pt x="1805776" y="31348"/>
                    <a:pt x="1816882" y="53062"/>
                    <a:pt x="1830765" y="76200"/>
                  </a:cubicBezTo>
                  <a:cubicBezTo>
                    <a:pt x="1853459" y="114023"/>
                    <a:pt x="1875215" y="152400"/>
                    <a:pt x="1897440" y="190500"/>
                  </a:cubicBezTo>
                  <a:cubicBezTo>
                    <a:pt x="1919665" y="282575"/>
                    <a:pt x="1941671" y="374703"/>
                    <a:pt x="1964115" y="466725"/>
                  </a:cubicBezTo>
                  <a:cubicBezTo>
                    <a:pt x="1973421" y="504879"/>
                    <a:pt x="1980271" y="543768"/>
                    <a:pt x="1992690" y="581025"/>
                  </a:cubicBezTo>
                  <a:lnTo>
                    <a:pt x="2030790" y="695325"/>
                  </a:lnTo>
                  <a:cubicBezTo>
                    <a:pt x="2073872" y="975357"/>
                    <a:pt x="2016229" y="666532"/>
                    <a:pt x="2097465" y="933450"/>
                  </a:cubicBezTo>
                  <a:cubicBezTo>
                    <a:pt x="2107801" y="967410"/>
                    <a:pt x="2106576" y="1004147"/>
                    <a:pt x="2116515" y="1038225"/>
                  </a:cubicBezTo>
                  <a:cubicBezTo>
                    <a:pt x="2128897" y="1080679"/>
                    <a:pt x="2150497" y="1119984"/>
                    <a:pt x="2164140" y="1162050"/>
                  </a:cubicBezTo>
                  <a:cubicBezTo>
                    <a:pt x="2188628" y="1237553"/>
                    <a:pt x="2208744" y="1314405"/>
                    <a:pt x="2230815" y="1390650"/>
                  </a:cubicBezTo>
                  <a:cubicBezTo>
                    <a:pt x="2243669" y="1435056"/>
                    <a:pt x="2259849" y="1478669"/>
                    <a:pt x="2268915" y="1524000"/>
                  </a:cubicBezTo>
                  <a:cubicBezTo>
                    <a:pt x="2275265" y="1555750"/>
                    <a:pt x="2280112" y="1587838"/>
                    <a:pt x="2287965" y="1619250"/>
                  </a:cubicBezTo>
                  <a:cubicBezTo>
                    <a:pt x="2296005" y="1651408"/>
                    <a:pt x="2309086" y="1682201"/>
                    <a:pt x="2316540" y="1714500"/>
                  </a:cubicBezTo>
                  <a:cubicBezTo>
                    <a:pt x="2328162" y="1764862"/>
                    <a:pt x="2336618" y="1815918"/>
                    <a:pt x="2345115" y="1866900"/>
                  </a:cubicBezTo>
                  <a:cubicBezTo>
                    <a:pt x="2362021" y="1968334"/>
                    <a:pt x="2365683" y="2072491"/>
                    <a:pt x="2392740" y="2171700"/>
                  </a:cubicBezTo>
                  <a:cubicBezTo>
                    <a:pt x="2402265" y="2206625"/>
                    <a:pt x="2412535" y="2241355"/>
                    <a:pt x="2421315" y="2276475"/>
                  </a:cubicBezTo>
                  <a:cubicBezTo>
                    <a:pt x="2439259" y="2348251"/>
                    <a:pt x="2455274" y="2422663"/>
                    <a:pt x="2468940" y="2495550"/>
                  </a:cubicBezTo>
                  <a:cubicBezTo>
                    <a:pt x="2479122" y="2549856"/>
                    <a:pt x="2479260" y="2562630"/>
                    <a:pt x="2487990" y="2619375"/>
                  </a:cubicBezTo>
                  <a:cubicBezTo>
                    <a:pt x="2490927" y="2638463"/>
                    <a:pt x="2494340" y="2657475"/>
                    <a:pt x="2497515" y="2676525"/>
                  </a:cubicBezTo>
                  <a:cubicBezTo>
                    <a:pt x="2491165" y="2733675"/>
                    <a:pt x="2498655" y="2794134"/>
                    <a:pt x="2478465" y="2847975"/>
                  </a:cubicBezTo>
                  <a:cubicBezTo>
                    <a:pt x="2430925" y="2974748"/>
                    <a:pt x="2472353" y="2878230"/>
                    <a:pt x="2421315" y="2971800"/>
                  </a:cubicBezTo>
                  <a:cubicBezTo>
                    <a:pt x="2395956" y="3018291"/>
                    <a:pt x="2385683" y="3050784"/>
                    <a:pt x="2354640" y="3095625"/>
                  </a:cubicBezTo>
                  <a:cubicBezTo>
                    <a:pt x="2328605" y="3133231"/>
                    <a:pt x="2271680" y="3190617"/>
                    <a:pt x="2240340" y="3219450"/>
                  </a:cubicBezTo>
                  <a:cubicBezTo>
                    <a:pt x="2184068" y="3271221"/>
                    <a:pt x="2132512" y="3329435"/>
                    <a:pt x="2068890" y="3371850"/>
                  </a:cubicBezTo>
                  <a:cubicBezTo>
                    <a:pt x="2030790" y="3397250"/>
                    <a:pt x="1991222" y="3420576"/>
                    <a:pt x="1954590" y="3448050"/>
                  </a:cubicBezTo>
                  <a:cubicBezTo>
                    <a:pt x="1927589" y="3468300"/>
                    <a:pt x="1905963" y="3495262"/>
                    <a:pt x="1878390" y="3514725"/>
                  </a:cubicBezTo>
                  <a:cubicBezTo>
                    <a:pt x="1824136" y="3553022"/>
                    <a:pt x="1766282" y="3572524"/>
                    <a:pt x="1706940" y="3600450"/>
                  </a:cubicBezTo>
                  <a:cubicBezTo>
                    <a:pt x="1681245" y="3612542"/>
                    <a:pt x="1656757" y="3627168"/>
                    <a:pt x="1630740" y="3638550"/>
                  </a:cubicBezTo>
                  <a:cubicBezTo>
                    <a:pt x="1527273" y="3683817"/>
                    <a:pt x="1583514" y="3653308"/>
                    <a:pt x="1478340" y="3686175"/>
                  </a:cubicBezTo>
                  <a:cubicBezTo>
                    <a:pt x="1452448" y="3694266"/>
                    <a:pt x="1428457" y="3708171"/>
                    <a:pt x="1402140" y="3714750"/>
                  </a:cubicBezTo>
                  <a:cubicBezTo>
                    <a:pt x="1364668" y="3724118"/>
                    <a:pt x="1325804" y="3726682"/>
                    <a:pt x="1287840" y="3733800"/>
                  </a:cubicBezTo>
                  <a:cubicBezTo>
                    <a:pt x="1034367" y="3781326"/>
                    <a:pt x="1177388" y="3763895"/>
                    <a:pt x="1002090" y="3781425"/>
                  </a:cubicBezTo>
                  <a:cubicBezTo>
                    <a:pt x="948115" y="3771900"/>
                    <a:pt x="887293" y="3780832"/>
                    <a:pt x="840165" y="3752850"/>
                  </a:cubicBezTo>
                  <a:cubicBezTo>
                    <a:pt x="838310" y="3751748"/>
                    <a:pt x="685609" y="3593621"/>
                    <a:pt x="649665" y="3543300"/>
                  </a:cubicBezTo>
                  <a:cubicBezTo>
                    <a:pt x="600527" y="3474506"/>
                    <a:pt x="535426" y="3413293"/>
                    <a:pt x="506790" y="3333750"/>
                  </a:cubicBezTo>
                  <a:cubicBezTo>
                    <a:pt x="478215" y="3254375"/>
                    <a:pt x="441526" y="3177468"/>
                    <a:pt x="421065" y="3095625"/>
                  </a:cubicBezTo>
                  <a:cubicBezTo>
                    <a:pt x="308645" y="2645943"/>
                    <a:pt x="484720" y="3341583"/>
                    <a:pt x="354390" y="2857500"/>
                  </a:cubicBezTo>
                  <a:cubicBezTo>
                    <a:pt x="329308" y="2764337"/>
                    <a:pt x="317596" y="2685796"/>
                    <a:pt x="297240" y="2590800"/>
                  </a:cubicBezTo>
                  <a:cubicBezTo>
                    <a:pt x="288364" y="2549381"/>
                    <a:pt x="278190" y="2508250"/>
                    <a:pt x="268665" y="2466975"/>
                  </a:cubicBezTo>
                  <a:cubicBezTo>
                    <a:pt x="250066" y="2262384"/>
                    <a:pt x="273826" y="2464203"/>
                    <a:pt x="230565" y="2247900"/>
                  </a:cubicBezTo>
                  <a:cubicBezTo>
                    <a:pt x="220673" y="2198438"/>
                    <a:pt x="215294" y="2087551"/>
                    <a:pt x="211515" y="2047875"/>
                  </a:cubicBezTo>
                  <a:cubicBezTo>
                    <a:pt x="209088" y="2022393"/>
                    <a:pt x="205165" y="1997075"/>
                    <a:pt x="201990" y="1971675"/>
                  </a:cubicBezTo>
                  <a:cubicBezTo>
                    <a:pt x="201501" y="1951608"/>
                    <a:pt x="192049" y="1462270"/>
                    <a:pt x="182940" y="1362075"/>
                  </a:cubicBezTo>
                  <a:cubicBezTo>
                    <a:pt x="180009" y="1329829"/>
                    <a:pt x="168693" y="1298846"/>
                    <a:pt x="163890" y="1266825"/>
                  </a:cubicBezTo>
                  <a:cubicBezTo>
                    <a:pt x="159877" y="1240074"/>
                    <a:pt x="153427" y="1139249"/>
                    <a:pt x="144840" y="1104900"/>
                  </a:cubicBezTo>
                  <a:cubicBezTo>
                    <a:pt x="137535" y="1075679"/>
                    <a:pt x="124327" y="1048197"/>
                    <a:pt x="116265" y="1019175"/>
                  </a:cubicBezTo>
                  <a:cubicBezTo>
                    <a:pt x="108431" y="990971"/>
                    <a:pt x="103919" y="961944"/>
                    <a:pt x="97215" y="933450"/>
                  </a:cubicBezTo>
                  <a:cubicBezTo>
                    <a:pt x="91218" y="907964"/>
                    <a:pt x="84052" y="882761"/>
                    <a:pt x="78165" y="857250"/>
                  </a:cubicBezTo>
                  <a:cubicBezTo>
                    <a:pt x="74525" y="841475"/>
                    <a:pt x="72900" y="825244"/>
                    <a:pt x="68640" y="809625"/>
                  </a:cubicBezTo>
                  <a:cubicBezTo>
                    <a:pt x="63356" y="790252"/>
                    <a:pt x="53528" y="772166"/>
                    <a:pt x="49590" y="752475"/>
                  </a:cubicBezTo>
                  <a:cubicBezTo>
                    <a:pt x="20862" y="608836"/>
                    <a:pt x="57443" y="787814"/>
                    <a:pt x="30540" y="666750"/>
                  </a:cubicBezTo>
                  <a:cubicBezTo>
                    <a:pt x="27028" y="650946"/>
                    <a:pt x="24942" y="634831"/>
                    <a:pt x="21015" y="619125"/>
                  </a:cubicBezTo>
                  <a:cubicBezTo>
                    <a:pt x="13790" y="590226"/>
                    <a:pt x="5528" y="584520"/>
                    <a:pt x="1965" y="552450"/>
                  </a:cubicBezTo>
                  <a:cubicBezTo>
                    <a:pt x="212" y="536672"/>
                    <a:pt x="-2797" y="525462"/>
                    <a:pt x="21015" y="495300"/>
                  </a:cubicBezTo>
                  <a:close/>
                </a:path>
              </a:pathLst>
            </a:custGeom>
            <a:noFill/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47" name="Gruppieren 46">
            <a:extLst>
              <a:ext uri="{FF2B5EF4-FFF2-40B4-BE49-F238E27FC236}">
                <a16:creationId xmlns:a16="http://schemas.microsoft.com/office/drawing/2014/main" id="{26611C85-B09B-6BB3-9086-D0F2173C15B3}"/>
              </a:ext>
            </a:extLst>
          </p:cNvPr>
          <p:cNvGrpSpPr/>
          <p:nvPr/>
        </p:nvGrpSpPr>
        <p:grpSpPr>
          <a:xfrm>
            <a:off x="2349506" y="2973237"/>
            <a:ext cx="8077187" cy="2078582"/>
            <a:chOff x="2654300" y="2581851"/>
            <a:chExt cx="3765550" cy="969026"/>
          </a:xfrm>
        </p:grpSpPr>
        <p:pic>
          <p:nvPicPr>
            <p:cNvPr id="36" name="Grafik 35">
              <a:extLst>
                <a:ext uri="{FF2B5EF4-FFF2-40B4-BE49-F238E27FC236}">
                  <a16:creationId xmlns:a16="http://schemas.microsoft.com/office/drawing/2014/main" id="{281C33BF-032C-D590-D076-A29C6E5DB358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2654300" y="2581851"/>
              <a:ext cx="3765550" cy="193341"/>
            </a:xfrm>
            <a:prstGeom prst="rect">
              <a:avLst/>
            </a:prstGeom>
          </p:spPr>
        </p:pic>
        <p:pic>
          <p:nvPicPr>
            <p:cNvPr id="38" name="Grafik 37">
              <a:extLst>
                <a:ext uri="{FF2B5EF4-FFF2-40B4-BE49-F238E27FC236}">
                  <a16:creationId xmlns:a16="http://schemas.microsoft.com/office/drawing/2014/main" id="{DFCEC03F-348C-DF03-F5F3-18BC7F4A6DAA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2654300" y="2773757"/>
              <a:ext cx="3765550" cy="202054"/>
            </a:xfrm>
            <a:prstGeom prst="rect">
              <a:avLst/>
            </a:prstGeom>
          </p:spPr>
        </p:pic>
        <p:pic>
          <p:nvPicPr>
            <p:cNvPr id="40" name="Grafik 39">
              <a:extLst>
                <a:ext uri="{FF2B5EF4-FFF2-40B4-BE49-F238E27FC236}">
                  <a16:creationId xmlns:a16="http://schemas.microsoft.com/office/drawing/2014/main" id="{2C5B57E0-E433-764B-F96B-C44685497657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2654300" y="2962128"/>
              <a:ext cx="3765550" cy="202054"/>
            </a:xfrm>
            <a:prstGeom prst="rect">
              <a:avLst/>
            </a:prstGeom>
          </p:spPr>
        </p:pic>
        <p:pic>
          <p:nvPicPr>
            <p:cNvPr id="44" name="Grafik 43">
              <a:extLst>
                <a:ext uri="{FF2B5EF4-FFF2-40B4-BE49-F238E27FC236}">
                  <a16:creationId xmlns:a16="http://schemas.microsoft.com/office/drawing/2014/main" id="{22AA4BD9-6F39-83BD-A295-4C8241136F72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2654300" y="3149231"/>
              <a:ext cx="3765550" cy="202054"/>
            </a:xfrm>
            <a:prstGeom prst="rect">
              <a:avLst/>
            </a:prstGeom>
          </p:spPr>
        </p:pic>
        <p:pic>
          <p:nvPicPr>
            <p:cNvPr id="46" name="Grafik 45">
              <a:extLst>
                <a:ext uri="{FF2B5EF4-FFF2-40B4-BE49-F238E27FC236}">
                  <a16:creationId xmlns:a16="http://schemas.microsoft.com/office/drawing/2014/main" id="{590ADE33-85A7-4DD0-C48B-0C4914CB6306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>
              <a:off x="2654300" y="3348823"/>
              <a:ext cx="3765550" cy="202054"/>
            </a:xfrm>
            <a:prstGeom prst="rect">
              <a:avLst/>
            </a:prstGeom>
          </p:spPr>
        </p:pic>
      </p:grpSp>
      <p:sp>
        <p:nvSpPr>
          <p:cNvPr id="48" name="Textfeld 47">
            <a:extLst>
              <a:ext uri="{FF2B5EF4-FFF2-40B4-BE49-F238E27FC236}">
                <a16:creationId xmlns:a16="http://schemas.microsoft.com/office/drawing/2014/main" id="{F1E17291-DCB9-6674-6B2B-AA9B984219A8}"/>
              </a:ext>
            </a:extLst>
          </p:cNvPr>
          <p:cNvSpPr txBox="1"/>
          <p:nvPr/>
        </p:nvSpPr>
        <p:spPr>
          <a:xfrm>
            <a:off x="10542807" y="3397060"/>
            <a:ext cx="114313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-&gt; Top-left</a:t>
            </a:r>
          </a:p>
        </p:txBody>
      </p:sp>
      <p:sp>
        <p:nvSpPr>
          <p:cNvPr id="49" name="Textfeld 48">
            <a:extLst>
              <a:ext uri="{FF2B5EF4-FFF2-40B4-BE49-F238E27FC236}">
                <a16:creationId xmlns:a16="http://schemas.microsoft.com/office/drawing/2014/main" id="{7672377F-7AED-C6C0-49C6-17EB619F2074}"/>
              </a:ext>
            </a:extLst>
          </p:cNvPr>
          <p:cNvSpPr txBox="1"/>
          <p:nvPr/>
        </p:nvSpPr>
        <p:spPr>
          <a:xfrm>
            <a:off x="10542807" y="3809959"/>
            <a:ext cx="126810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-&gt; Top-right</a:t>
            </a:r>
          </a:p>
        </p:txBody>
      </p:sp>
      <p:sp>
        <p:nvSpPr>
          <p:cNvPr id="50" name="Textfeld 49">
            <a:extLst>
              <a:ext uri="{FF2B5EF4-FFF2-40B4-BE49-F238E27FC236}">
                <a16:creationId xmlns:a16="http://schemas.microsoft.com/office/drawing/2014/main" id="{237A4B8C-6FAE-511C-FC13-F1D5D25A3704}"/>
              </a:ext>
            </a:extLst>
          </p:cNvPr>
          <p:cNvSpPr txBox="1"/>
          <p:nvPr/>
        </p:nvSpPr>
        <p:spPr>
          <a:xfrm>
            <a:off x="10542807" y="4208689"/>
            <a:ext cx="150919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-&gt; Bottom-left</a:t>
            </a:r>
          </a:p>
        </p:txBody>
      </p:sp>
      <p:sp>
        <p:nvSpPr>
          <p:cNvPr id="51" name="Textfeld 50">
            <a:extLst>
              <a:ext uri="{FF2B5EF4-FFF2-40B4-BE49-F238E27FC236}">
                <a16:creationId xmlns:a16="http://schemas.microsoft.com/office/drawing/2014/main" id="{96B100BE-ED71-7238-EA85-B33D90B4E9BC}"/>
              </a:ext>
            </a:extLst>
          </p:cNvPr>
          <p:cNvSpPr txBox="1"/>
          <p:nvPr/>
        </p:nvSpPr>
        <p:spPr>
          <a:xfrm>
            <a:off x="10542807" y="4638528"/>
            <a:ext cx="163416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-&gt; Bottom-right</a:t>
            </a:r>
          </a:p>
        </p:txBody>
      </p:sp>
      <p:sp>
        <p:nvSpPr>
          <p:cNvPr id="52" name="Textfeld 51">
            <a:extLst>
              <a:ext uri="{FF2B5EF4-FFF2-40B4-BE49-F238E27FC236}">
                <a16:creationId xmlns:a16="http://schemas.microsoft.com/office/drawing/2014/main" id="{A54A6D62-7E43-A000-C8EC-5D51FBEB29F2}"/>
              </a:ext>
            </a:extLst>
          </p:cNvPr>
          <p:cNvSpPr txBox="1"/>
          <p:nvPr/>
        </p:nvSpPr>
        <p:spPr>
          <a:xfrm>
            <a:off x="1665631" y="2358309"/>
            <a:ext cx="275090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 dirty="0"/>
              <a:t>Documentation</a:t>
            </a:r>
          </a:p>
        </p:txBody>
      </p:sp>
      <p:sp>
        <p:nvSpPr>
          <p:cNvPr id="53" name="Textfeld 52">
            <a:extLst>
              <a:ext uri="{FF2B5EF4-FFF2-40B4-BE49-F238E27FC236}">
                <a16:creationId xmlns:a16="http://schemas.microsoft.com/office/drawing/2014/main" id="{0521461D-D30B-A497-6C69-9799E5AD8E0A}"/>
              </a:ext>
            </a:extLst>
          </p:cNvPr>
          <p:cNvSpPr txBox="1"/>
          <p:nvPr/>
        </p:nvSpPr>
        <p:spPr>
          <a:xfrm>
            <a:off x="1665631" y="6271720"/>
            <a:ext cx="2750909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 dirty="0"/>
              <a:t>Final Characterization</a:t>
            </a:r>
          </a:p>
        </p:txBody>
      </p:sp>
    </p:spTree>
    <p:extLst>
      <p:ext uri="{BB962C8B-B14F-4D97-AF65-F5344CB8AC3E}">
        <p14:creationId xmlns:p14="http://schemas.microsoft.com/office/powerpoint/2010/main" val="394152481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0</TotalTime>
  <Words>262</Words>
  <Application>Microsoft Office PowerPoint</Application>
  <PresentationFormat>Benutzerdefiniert</PresentationFormat>
  <Paragraphs>38</Paragraphs>
  <Slides>5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3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5</vt:i4>
      </vt:variant>
    </vt:vector>
  </HeadingPairs>
  <TitlesOfParts>
    <vt:vector size="10" baseType="lpstr">
      <vt:lpstr>Arial</vt:lpstr>
      <vt:lpstr>Calibri</vt:lpstr>
      <vt:lpstr>Calibri Light</vt:lpstr>
      <vt:lpstr>Office</vt:lpstr>
      <vt:lpstr>think-cell Folie</vt:lpstr>
      <vt:lpstr>PowerPoint-Präsentation</vt:lpstr>
      <vt:lpstr>PowerPoint-Präsentation</vt:lpstr>
      <vt:lpstr>PowerPoint-Präsentation</vt:lpstr>
      <vt:lpstr>PowerPoint-Präsentation</vt:lpstr>
      <vt:lpstr>PowerPoint-Präsentation</vt:lpstr>
    </vt:vector>
  </TitlesOfParts>
  <Company>WWU Muenster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Kevin Wesendrup</dc:creator>
  <cp:lastModifiedBy>Kevin Wesendrup</cp:lastModifiedBy>
  <cp:revision>21</cp:revision>
  <dcterms:created xsi:type="dcterms:W3CDTF">2022-05-30T12:21:08Z</dcterms:created>
  <dcterms:modified xsi:type="dcterms:W3CDTF">2022-06-07T10:59:54Z</dcterms:modified>
</cp:coreProperties>
</file>